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61" r:id="rId6"/>
  </p:sldMasterIdLst>
  <p:notesMasterIdLst>
    <p:notesMasterId r:id="rId19"/>
  </p:notesMasterIdLst>
  <p:sldIdLst>
    <p:sldId id="256" r:id="rId7"/>
    <p:sldId id="257" r:id="rId8"/>
    <p:sldId id="270" r:id="rId9"/>
    <p:sldId id="271" r:id="rId10"/>
    <p:sldId id="277" r:id="rId11"/>
    <p:sldId id="273" r:id="rId12"/>
    <p:sldId id="274" r:id="rId13"/>
    <p:sldId id="275" r:id="rId14"/>
    <p:sldId id="264" r:id="rId15"/>
    <p:sldId id="267" r:id="rId16"/>
    <p:sldId id="279" r:id="rId17"/>
    <p:sldId id="258"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F26B43"/>
          </p15:clr>
        </p15:guide>
        <p15:guide id="3" pos="264" userDrawn="1">
          <p15:clr>
            <a:srgbClr val="A4A3A4"/>
          </p15:clr>
        </p15:guide>
        <p15:guide id="4" pos="7440" userDrawn="1">
          <p15:clr>
            <a:srgbClr val="A4A3A4"/>
          </p15:clr>
        </p15:guide>
        <p15:guide id="5" orient="horz" pos="4104" userDrawn="1">
          <p15:clr>
            <a:srgbClr val="A4A3A4"/>
          </p15:clr>
        </p15:guide>
        <p15:guide id="6" orient="horz" pos="1056" userDrawn="1">
          <p15:clr>
            <a:srgbClr val="F26B43"/>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CC708A-2F44-D353-241A-2470395DD566}" name="Liang Yang" initials="LY" userId="S::liang.yang@undp.org::7a7c13a3-d26c-494d-9577-22c5c3f8a80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A7DA2"/>
    <a:srgbClr val="BFE3FE"/>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F2CCA-3EB3-48F4-8B86-B4169450C8DA}" v="1001" dt="2024-06-26T20:52:39.8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0" autoAdjust="0"/>
    <p:restoredTop sz="86644" autoAdjust="0"/>
  </p:normalViewPr>
  <p:slideViewPr>
    <p:cSldViewPr snapToGrid="0" snapToObjects="1">
      <p:cViewPr varScale="1">
        <p:scale>
          <a:sx n="105" d="100"/>
          <a:sy n="105" d="100"/>
        </p:scale>
        <p:origin x="664" y="184"/>
      </p:cViewPr>
      <p:guideLst>
        <p:guide pos="3840"/>
        <p:guide pos="264"/>
        <p:guide pos="7440"/>
        <p:guide orient="horz" pos="4104"/>
        <p:guide orient="horz" pos="105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ang Yang" userId="7a7c13a3-d26c-494d-9577-22c5c3f8a804" providerId="ADAL" clId="{B6DF2CCA-3EB3-48F4-8B86-B4169450C8DA}"/>
    <pc:docChg chg="undo redo custSel addSld delSld modSld sldOrd replTag">
      <pc:chgData name="Liang Yang" userId="7a7c13a3-d26c-494d-9577-22c5c3f8a804" providerId="ADAL" clId="{B6DF2CCA-3EB3-48F4-8B86-B4169450C8DA}" dt="2024-06-26T20:59:57.988" v="15788" actId="20577"/>
      <pc:docMkLst>
        <pc:docMk/>
      </pc:docMkLst>
      <pc:sldChg chg="addSp delSp modSp mod">
        <pc:chgData name="Liang Yang" userId="7a7c13a3-d26c-494d-9577-22c5c3f8a804" providerId="ADAL" clId="{B6DF2CCA-3EB3-48F4-8B86-B4169450C8DA}" dt="2024-06-25T16:01:22.361" v="346" actId="1076"/>
        <pc:sldMkLst>
          <pc:docMk/>
          <pc:sldMk cId="4256616555" sldId="256"/>
        </pc:sldMkLst>
        <pc:spChg chg="mod">
          <ac:chgData name="Liang Yang" userId="7a7c13a3-d26c-494d-9577-22c5c3f8a804" providerId="ADAL" clId="{B6DF2CCA-3EB3-48F4-8B86-B4169450C8DA}" dt="2024-06-25T16:01:19.912" v="341" actId="948"/>
          <ac:spMkLst>
            <pc:docMk/>
            <pc:sldMk cId="4256616555" sldId="256"/>
            <ac:spMk id="2" creationId="{9DB86CB8-3653-644D-913F-B94CE3719F48}"/>
          </ac:spMkLst>
        </pc:spChg>
        <pc:spChg chg="mod">
          <ac:chgData name="Liang Yang" userId="7a7c13a3-d26c-494d-9577-22c5c3f8a804" providerId="ADAL" clId="{B6DF2CCA-3EB3-48F4-8B86-B4169450C8DA}" dt="2024-06-25T16:01:22.361" v="346" actId="1076"/>
          <ac:spMkLst>
            <pc:docMk/>
            <pc:sldMk cId="4256616555" sldId="256"/>
            <ac:spMk id="3" creationId="{EDAFBDA5-E298-3440-8BED-4395E0318CFA}"/>
          </ac:spMkLst>
        </pc:spChg>
        <pc:spChg chg="add del mod modVis">
          <ac:chgData name="Liang Yang" userId="7a7c13a3-d26c-494d-9577-22c5c3f8a804" providerId="ADAL" clId="{B6DF2CCA-3EB3-48F4-8B86-B4169450C8DA}" dt="2024-06-25T15:58:34.507" v="30"/>
          <ac:spMkLst>
            <pc:docMk/>
            <pc:sldMk cId="4256616555" sldId="256"/>
            <ac:spMk id="5" creationId="{7E66DA9A-C774-46FA-5717-C3DF81C1C818}"/>
          </ac:spMkLst>
        </pc:spChg>
        <pc:spChg chg="add del mod modVis">
          <ac:chgData name="Liang Yang" userId="7a7c13a3-d26c-494d-9577-22c5c3f8a804" providerId="ADAL" clId="{B6DF2CCA-3EB3-48F4-8B86-B4169450C8DA}" dt="2024-06-25T15:58:39.815" v="58"/>
          <ac:spMkLst>
            <pc:docMk/>
            <pc:sldMk cId="4256616555" sldId="256"/>
            <ac:spMk id="6" creationId="{8B33B01B-EE0D-AC6D-B28E-6D43FA9EC394}"/>
          </ac:spMkLst>
        </pc:spChg>
        <pc:spChg chg="add del mod modVis">
          <ac:chgData name="Liang Yang" userId="7a7c13a3-d26c-494d-9577-22c5c3f8a804" providerId="ADAL" clId="{B6DF2CCA-3EB3-48F4-8B86-B4169450C8DA}" dt="2024-06-25T15:59:11.258" v="98"/>
          <ac:spMkLst>
            <pc:docMk/>
            <pc:sldMk cId="4256616555" sldId="256"/>
            <ac:spMk id="7" creationId="{857F455B-EFA5-F894-2BB1-632BA5DF0349}"/>
          </ac:spMkLst>
        </pc:spChg>
        <pc:spChg chg="add del mod modVis">
          <ac:chgData name="Liang Yang" userId="7a7c13a3-d26c-494d-9577-22c5c3f8a804" providerId="ADAL" clId="{B6DF2CCA-3EB3-48F4-8B86-B4169450C8DA}" dt="2024-06-25T15:59:13.661" v="127"/>
          <ac:spMkLst>
            <pc:docMk/>
            <pc:sldMk cId="4256616555" sldId="256"/>
            <ac:spMk id="8" creationId="{D7B776A4-B4D3-002F-807E-E6D1234778D5}"/>
          </ac:spMkLst>
        </pc:spChg>
        <pc:spChg chg="add del mod modVis">
          <ac:chgData name="Liang Yang" userId="7a7c13a3-d26c-494d-9577-22c5c3f8a804" providerId="ADAL" clId="{B6DF2CCA-3EB3-48F4-8B86-B4169450C8DA}" dt="2024-06-25T16:01:05.581" v="187"/>
          <ac:spMkLst>
            <pc:docMk/>
            <pc:sldMk cId="4256616555" sldId="256"/>
            <ac:spMk id="11" creationId="{CF0E0A71-7C38-DC7F-CD41-3389BA9BED04}"/>
          </ac:spMkLst>
        </pc:spChg>
        <pc:spChg chg="add del mod modVis">
          <ac:chgData name="Liang Yang" userId="7a7c13a3-d26c-494d-9577-22c5c3f8a804" providerId="ADAL" clId="{B6DF2CCA-3EB3-48F4-8B86-B4169450C8DA}" dt="2024-06-25T16:01:06.182" v="216"/>
          <ac:spMkLst>
            <pc:docMk/>
            <pc:sldMk cId="4256616555" sldId="256"/>
            <ac:spMk id="12" creationId="{40F23A8C-214F-B2E9-0B66-34AA7E88BF3D}"/>
          </ac:spMkLst>
        </pc:spChg>
        <pc:spChg chg="add del mod modVis">
          <ac:chgData name="Liang Yang" userId="7a7c13a3-d26c-494d-9577-22c5c3f8a804" providerId="ADAL" clId="{B6DF2CCA-3EB3-48F4-8B86-B4169450C8DA}" dt="2024-06-25T16:01:07.357" v="249"/>
          <ac:spMkLst>
            <pc:docMk/>
            <pc:sldMk cId="4256616555" sldId="256"/>
            <ac:spMk id="13" creationId="{0BEE697C-649D-E0BC-A55D-03BB33F414E2}"/>
          </ac:spMkLst>
        </pc:spChg>
        <pc:spChg chg="add del mod modVis">
          <ac:chgData name="Liang Yang" userId="7a7c13a3-d26c-494d-9577-22c5c3f8a804" providerId="ADAL" clId="{B6DF2CCA-3EB3-48F4-8B86-B4169450C8DA}" dt="2024-06-25T16:01:08.310" v="278"/>
          <ac:spMkLst>
            <pc:docMk/>
            <pc:sldMk cId="4256616555" sldId="256"/>
            <ac:spMk id="14" creationId="{0E31EF4B-C89B-B9BC-72BA-59289465C58C}"/>
          </ac:spMkLst>
        </pc:spChg>
        <pc:spChg chg="add del mod modVis">
          <ac:chgData name="Liang Yang" userId="7a7c13a3-d26c-494d-9577-22c5c3f8a804" providerId="ADAL" clId="{B6DF2CCA-3EB3-48F4-8B86-B4169450C8DA}" dt="2024-06-25T16:01:09.461" v="309"/>
          <ac:spMkLst>
            <pc:docMk/>
            <pc:sldMk cId="4256616555" sldId="256"/>
            <ac:spMk id="15" creationId="{DA9B28AF-168E-A630-5EFB-C3153A67CC44}"/>
          </ac:spMkLst>
        </pc:spChg>
        <pc:spChg chg="add del mod modVis">
          <ac:chgData name="Liang Yang" userId="7a7c13a3-d26c-494d-9577-22c5c3f8a804" providerId="ADAL" clId="{B6DF2CCA-3EB3-48F4-8B86-B4169450C8DA}" dt="2024-06-25T16:01:10.573" v="337"/>
          <ac:spMkLst>
            <pc:docMk/>
            <pc:sldMk cId="4256616555" sldId="256"/>
            <ac:spMk id="16" creationId="{7E7AED69-762E-8F6F-60F6-6E2942A970DF}"/>
          </ac:spMkLst>
        </pc:spChg>
        <pc:graphicFrameChg chg="mod">
          <ac:chgData name="Liang Yang" userId="7a7c13a3-d26c-494d-9577-22c5c3f8a804" providerId="ADAL" clId="{B6DF2CCA-3EB3-48F4-8B86-B4169450C8DA}" dt="2024-06-25T16:01:19.917" v="345"/>
          <ac:graphicFrameMkLst>
            <pc:docMk/>
            <pc:sldMk cId="4256616555" sldId="256"/>
            <ac:graphicFrameMk id="4" creationId="{1A41BB78-4A3C-030E-CA4B-2C7D2A23ABA2}"/>
          </ac:graphicFrameMkLst>
        </pc:graphicFrameChg>
        <pc:picChg chg="add del">
          <ac:chgData name="Liang Yang" userId="7a7c13a3-d26c-494d-9577-22c5c3f8a804" providerId="ADAL" clId="{B6DF2CCA-3EB3-48F4-8B86-B4169450C8DA}" dt="2024-06-25T16:00:51.051" v="159" actId="478"/>
          <ac:picMkLst>
            <pc:docMk/>
            <pc:sldMk cId="4256616555" sldId="256"/>
            <ac:picMk id="10" creationId="{A8F68606-FEE2-78C7-218B-D51AE3B0E2A6}"/>
          </ac:picMkLst>
        </pc:picChg>
      </pc:sldChg>
      <pc:sldChg chg="modSp mod modNotesTx">
        <pc:chgData name="Liang Yang" userId="7a7c13a3-d26c-494d-9577-22c5c3f8a804" providerId="ADAL" clId="{B6DF2CCA-3EB3-48F4-8B86-B4169450C8DA}" dt="2024-06-26T20:53:48.998" v="15653" actId="20577"/>
        <pc:sldMkLst>
          <pc:docMk/>
          <pc:sldMk cId="2599966740" sldId="257"/>
        </pc:sldMkLst>
        <pc:spChg chg="mod">
          <ac:chgData name="Liang Yang" userId="7a7c13a3-d26c-494d-9577-22c5c3f8a804" providerId="ADAL" clId="{B6DF2CCA-3EB3-48F4-8B86-B4169450C8DA}" dt="2024-06-26T20:50:36.573" v="15566" actId="20577"/>
          <ac:spMkLst>
            <pc:docMk/>
            <pc:sldMk cId="2599966740" sldId="257"/>
            <ac:spMk id="53" creationId="{731B1CC3-1827-99A6-BC57-A114DBFCE863}"/>
          </ac:spMkLst>
        </pc:spChg>
      </pc:sldChg>
      <pc:sldChg chg="modNotesTx">
        <pc:chgData name="Liang Yang" userId="7a7c13a3-d26c-494d-9577-22c5c3f8a804" providerId="ADAL" clId="{B6DF2CCA-3EB3-48F4-8B86-B4169450C8DA}" dt="2024-06-26T20:49:01.216" v="15466" actId="20577"/>
        <pc:sldMkLst>
          <pc:docMk/>
          <pc:sldMk cId="4171911372" sldId="258"/>
        </pc:sldMkLst>
      </pc:sldChg>
      <pc:sldChg chg="addSp delSp modSp mod addCm modCm modNotesTx">
        <pc:chgData name="Liang Yang" userId="7a7c13a3-d26c-494d-9577-22c5c3f8a804" providerId="ADAL" clId="{B6DF2CCA-3EB3-48F4-8B86-B4169450C8DA}" dt="2024-06-26T20:46:11.806" v="15446"/>
        <pc:sldMkLst>
          <pc:docMk/>
          <pc:sldMk cId="628374823" sldId="264"/>
        </pc:sldMkLst>
        <pc:spChg chg="mod ord">
          <ac:chgData name="Liang Yang" userId="7a7c13a3-d26c-494d-9577-22c5c3f8a804" providerId="ADAL" clId="{B6DF2CCA-3EB3-48F4-8B86-B4169450C8DA}" dt="2024-06-26T16:54:45.989" v="6667"/>
          <ac:spMkLst>
            <pc:docMk/>
            <pc:sldMk cId="628374823" sldId="264"/>
            <ac:spMk id="2" creationId="{190C47B4-A196-DC50-2C83-9E3B6718CD8B}"/>
          </ac:spMkLst>
        </pc:spChg>
        <pc:spChg chg="add del mod modVis">
          <ac:chgData name="Liang Yang" userId="7a7c13a3-d26c-494d-9577-22c5c3f8a804" providerId="ADAL" clId="{B6DF2CCA-3EB3-48F4-8B86-B4169450C8DA}" dt="2024-06-26T16:54:45.989" v="6676"/>
          <ac:spMkLst>
            <pc:docMk/>
            <pc:sldMk cId="628374823" sldId="264"/>
            <ac:spMk id="8" creationId="{B1629D43-A4D1-7D53-0550-382D835A8460}"/>
          </ac:spMkLst>
        </pc:spChg>
        <pc:spChg chg="add mod">
          <ac:chgData name="Liang Yang" userId="7a7c13a3-d26c-494d-9577-22c5c3f8a804" providerId="ADAL" clId="{B6DF2CCA-3EB3-48F4-8B86-B4169450C8DA}" dt="2024-06-26T18:11:35.330" v="8844" actId="120"/>
          <ac:spMkLst>
            <pc:docMk/>
            <pc:sldMk cId="628374823" sldId="264"/>
            <ac:spMk id="10" creationId="{4552ED49-678F-64DE-CFCE-CF5A68C38372}"/>
          </ac:spMkLst>
        </pc:spChg>
        <pc:spChg chg="add mod">
          <ac:chgData name="Liang Yang" userId="7a7c13a3-d26c-494d-9577-22c5c3f8a804" providerId="ADAL" clId="{B6DF2CCA-3EB3-48F4-8B86-B4169450C8DA}" dt="2024-06-26T18:11:35.330" v="8844" actId="120"/>
          <ac:spMkLst>
            <pc:docMk/>
            <pc:sldMk cId="628374823" sldId="264"/>
            <ac:spMk id="11" creationId="{B98B8C18-4DA1-A939-79FA-617794902069}"/>
          </ac:spMkLst>
        </pc:spChg>
        <pc:spChg chg="mod">
          <ac:chgData name="Liang Yang" userId="7a7c13a3-d26c-494d-9577-22c5c3f8a804" providerId="ADAL" clId="{B6DF2CCA-3EB3-48F4-8B86-B4169450C8DA}" dt="2024-06-26T17:02:54.721" v="7043" actId="1076"/>
          <ac:spMkLst>
            <pc:docMk/>
            <pc:sldMk cId="628374823" sldId="264"/>
            <ac:spMk id="21" creationId="{B61A0AC6-5A15-B627-62A8-F73FFB203945}"/>
          </ac:spMkLst>
        </pc:spChg>
        <pc:spChg chg="mod">
          <ac:chgData name="Liang Yang" userId="7a7c13a3-d26c-494d-9577-22c5c3f8a804" providerId="ADAL" clId="{B6DF2CCA-3EB3-48F4-8B86-B4169450C8DA}" dt="2024-06-26T17:02:54.721" v="7043" actId="1076"/>
          <ac:spMkLst>
            <pc:docMk/>
            <pc:sldMk cId="628374823" sldId="264"/>
            <ac:spMk id="82" creationId="{46F57803-DD4D-F4F6-0FD8-BA681A20898C}"/>
          </ac:spMkLst>
        </pc:spChg>
        <pc:spChg chg="mod">
          <ac:chgData name="Liang Yang" userId="7a7c13a3-d26c-494d-9577-22c5c3f8a804" providerId="ADAL" clId="{B6DF2CCA-3EB3-48F4-8B86-B4169450C8DA}" dt="2024-06-26T17:02:54.721" v="7043" actId="1076"/>
          <ac:spMkLst>
            <pc:docMk/>
            <pc:sldMk cId="628374823" sldId="264"/>
            <ac:spMk id="83" creationId="{4B0F169F-DB4E-5EA9-EE86-A168AAC74557}"/>
          </ac:spMkLst>
        </pc:spChg>
        <pc:grpChg chg="add mod">
          <ac:chgData name="Liang Yang" userId="7a7c13a3-d26c-494d-9577-22c5c3f8a804" providerId="ADAL" clId="{B6DF2CCA-3EB3-48F4-8B86-B4169450C8DA}" dt="2024-06-26T17:02:38.581" v="7040" actId="1076"/>
          <ac:grpSpMkLst>
            <pc:docMk/>
            <pc:sldMk cId="628374823" sldId="264"/>
            <ac:grpSpMk id="9" creationId="{C70BA311-CD25-8C83-AE9D-D1BACC81CE34}"/>
          </ac:grpSpMkLst>
        </pc:grpChg>
        <pc:grpChg chg="mod">
          <ac:chgData name="Liang Yang" userId="7a7c13a3-d26c-494d-9577-22c5c3f8a804" providerId="ADAL" clId="{B6DF2CCA-3EB3-48F4-8B86-B4169450C8DA}" dt="2024-06-26T17:02:54.721" v="7043" actId="1076"/>
          <ac:grpSpMkLst>
            <pc:docMk/>
            <pc:sldMk cId="628374823" sldId="264"/>
            <ac:grpSpMk id="76" creationId="{E1A3CEB9-DF2B-8B02-D47D-C231A505CF87}"/>
          </ac:grpSpMkLst>
        </pc:grpChg>
        <pc:grpChg chg="mod">
          <ac:chgData name="Liang Yang" userId="7a7c13a3-d26c-494d-9577-22c5c3f8a804" providerId="ADAL" clId="{B6DF2CCA-3EB3-48F4-8B86-B4169450C8DA}" dt="2024-06-26T17:02:54.721" v="7043" actId="1076"/>
          <ac:grpSpMkLst>
            <pc:docMk/>
            <pc:sldMk cId="628374823" sldId="264"/>
            <ac:grpSpMk id="79" creationId="{B9D7BEF0-6B68-6E52-7A80-45E18B030315}"/>
          </ac:grpSpMkLst>
        </pc:grpChg>
        <pc:grpChg chg="mod">
          <ac:chgData name="Liang Yang" userId="7a7c13a3-d26c-494d-9577-22c5c3f8a804" providerId="ADAL" clId="{B6DF2CCA-3EB3-48F4-8B86-B4169450C8DA}" dt="2024-06-26T17:02:54.721" v="7043" actId="1076"/>
          <ac:grpSpMkLst>
            <pc:docMk/>
            <pc:sldMk cId="628374823" sldId="264"/>
            <ac:grpSpMk id="80" creationId="{3CE3426E-D505-014F-AEC5-F1BBE85EF1D2}"/>
          </ac:grpSpMkLst>
        </pc:grpChg>
        <pc:grpChg chg="mod">
          <ac:chgData name="Liang Yang" userId="7a7c13a3-d26c-494d-9577-22c5c3f8a804" providerId="ADAL" clId="{B6DF2CCA-3EB3-48F4-8B86-B4169450C8DA}" dt="2024-06-26T17:02:54.721" v="7043" actId="1076"/>
          <ac:grpSpMkLst>
            <pc:docMk/>
            <pc:sldMk cId="628374823" sldId="264"/>
            <ac:grpSpMk id="81" creationId="{BBE67395-8450-4400-3C5C-5B2BEB96BFA3}"/>
          </ac:grpSpMkLst>
        </pc:grpChg>
        <pc:grpChg chg="mod">
          <ac:chgData name="Liang Yang" userId="7a7c13a3-d26c-494d-9577-22c5c3f8a804" providerId="ADAL" clId="{B6DF2CCA-3EB3-48F4-8B86-B4169450C8DA}" dt="2024-06-26T17:02:54.721" v="7043" actId="1076"/>
          <ac:grpSpMkLst>
            <pc:docMk/>
            <pc:sldMk cId="628374823" sldId="264"/>
            <ac:grpSpMk id="84" creationId="{864C068A-A4D9-D132-41E0-9A6830589327}"/>
          </ac:grpSpMkLst>
        </pc:grpChg>
        <pc:graphicFrameChg chg="mod">
          <ac:chgData name="Liang Yang" userId="7a7c13a3-d26c-494d-9577-22c5c3f8a804" providerId="ADAL" clId="{B6DF2CCA-3EB3-48F4-8B86-B4169450C8DA}" dt="2024-06-26T16:54:45.989" v="6678"/>
          <ac:graphicFrameMkLst>
            <pc:docMk/>
            <pc:sldMk cId="628374823" sldId="264"/>
            <ac:graphicFrameMk id="5" creationId="{C6112179-68C2-DCF3-BF3D-B38605D02DE1}"/>
          </ac:graphicFrameMkLst>
        </pc:graphicFrameChg>
        <pc:picChg chg="add mod ord">
          <ac:chgData name="Liang Yang" userId="7a7c13a3-d26c-494d-9577-22c5c3f8a804" providerId="ADAL" clId="{B6DF2CCA-3EB3-48F4-8B86-B4169450C8DA}" dt="2024-06-26T17:02:38.581" v="7040" actId="1076"/>
          <ac:picMkLst>
            <pc:docMk/>
            <pc:sldMk cId="628374823" sldId="264"/>
            <ac:picMk id="4" creationId="{CF63026E-0FBB-FF2E-9967-121E2090EE64}"/>
          </ac:picMkLst>
        </pc:picChg>
        <pc:picChg chg="add mod ord">
          <ac:chgData name="Liang Yang" userId="7a7c13a3-d26c-494d-9577-22c5c3f8a804" providerId="ADAL" clId="{B6DF2CCA-3EB3-48F4-8B86-B4169450C8DA}" dt="2024-06-26T17:02:38.581" v="7040" actId="1076"/>
          <ac:picMkLst>
            <pc:docMk/>
            <pc:sldMk cId="628374823" sldId="264"/>
            <ac:picMk id="7" creationId="{400B41B5-413F-0338-CA79-D6B2377A9A07}"/>
          </ac:picMkLst>
        </pc:picChg>
        <pc:picChg chg="mod">
          <ac:chgData name="Liang Yang" userId="7a7c13a3-d26c-494d-9577-22c5c3f8a804" providerId="ADAL" clId="{B6DF2CCA-3EB3-48F4-8B86-B4169450C8DA}" dt="2024-06-26T17:02:54.721" v="7043" actId="1076"/>
          <ac:picMkLst>
            <pc:docMk/>
            <pc:sldMk cId="628374823" sldId="264"/>
            <ac:picMk id="17" creationId="{2A4A28CF-8D69-25CD-C57F-7B17F306994B}"/>
          </ac:picMkLst>
        </pc:picChg>
        <pc:picChg chg="mod">
          <ac:chgData name="Liang Yang" userId="7a7c13a3-d26c-494d-9577-22c5c3f8a804" providerId="ADAL" clId="{B6DF2CCA-3EB3-48F4-8B86-B4169450C8DA}" dt="2024-06-26T17:02:54.721" v="7043" actId="1076"/>
          <ac:picMkLst>
            <pc:docMk/>
            <pc:sldMk cId="628374823" sldId="264"/>
            <ac:picMk id="71" creationId="{A135F11E-4349-0F9D-B386-72016EB68BA4}"/>
          </ac:picMkLst>
        </pc:picChg>
        <pc:picChg chg="mod">
          <ac:chgData name="Liang Yang" userId="7a7c13a3-d26c-494d-9577-22c5c3f8a804" providerId="ADAL" clId="{B6DF2CCA-3EB3-48F4-8B86-B4169450C8DA}" dt="2024-06-26T17:02:54.721" v="7043" actId="1076"/>
          <ac:picMkLst>
            <pc:docMk/>
            <pc:sldMk cId="628374823" sldId="264"/>
            <ac:picMk id="73" creationId="{EA0C2B02-9DB8-9E46-4E59-7DD2FB992A39}"/>
          </ac:picMkLst>
        </pc:picChg>
        <pc:picChg chg="mod">
          <ac:chgData name="Liang Yang" userId="7a7c13a3-d26c-494d-9577-22c5c3f8a804" providerId="ADAL" clId="{B6DF2CCA-3EB3-48F4-8B86-B4169450C8DA}" dt="2024-06-26T17:02:54.721" v="7043" actId="1076"/>
          <ac:picMkLst>
            <pc:docMk/>
            <pc:sldMk cId="628374823" sldId="264"/>
            <ac:picMk id="75" creationId="{76D723A6-EA88-0595-C3DD-0534C5FFF0B4}"/>
          </ac:picMkLst>
        </pc:picChg>
        <pc:cxnChg chg="mod">
          <ac:chgData name="Liang Yang" userId="7a7c13a3-d26c-494d-9577-22c5c3f8a804" providerId="ADAL" clId="{B6DF2CCA-3EB3-48F4-8B86-B4169450C8DA}" dt="2024-06-26T17:02:54.721" v="7043" actId="1076"/>
          <ac:cxnSpMkLst>
            <pc:docMk/>
            <pc:sldMk cId="628374823" sldId="264"/>
            <ac:cxnSpMk id="78" creationId="{C4880133-B8F9-E444-29C4-9317A43DC20E}"/>
          </ac:cxnSpMkLst>
        </pc:cxnChg>
        <pc:extLst>
          <p:ext xmlns:p="http://schemas.openxmlformats.org/presentationml/2006/main" uri="{D6D511B9-2390-475A-947B-AFAB55BFBCF1}">
            <pc226:cmChg xmlns:pc226="http://schemas.microsoft.com/office/powerpoint/2022/06/main/command" chg="add mod">
              <pc226:chgData name="Liang Yang" userId="7a7c13a3-d26c-494d-9577-22c5c3f8a804" providerId="ADAL" clId="{B6DF2CCA-3EB3-48F4-8B86-B4169450C8DA}" dt="2024-06-26T20:46:11.806" v="15446"/>
              <pc2:cmMkLst xmlns:pc2="http://schemas.microsoft.com/office/powerpoint/2019/9/main/command">
                <pc:docMk/>
                <pc:sldMk cId="628374823" sldId="264"/>
                <pc2:cmMk id="{2531C56D-C00B-41AD-808E-745BBB98DDC8}"/>
              </pc2:cmMkLst>
            </pc226:cmChg>
          </p:ext>
        </pc:extLst>
      </pc:sldChg>
      <pc:sldChg chg="addSp delSp modSp mod">
        <pc:chgData name="Liang Yang" userId="7a7c13a3-d26c-494d-9577-22c5c3f8a804" providerId="ADAL" clId="{B6DF2CCA-3EB3-48F4-8B86-B4169450C8DA}" dt="2024-06-26T20:49:21.474" v="15495"/>
        <pc:sldMkLst>
          <pc:docMk/>
          <pc:sldMk cId="2634376879" sldId="267"/>
        </pc:sldMkLst>
        <pc:spChg chg="mod">
          <ac:chgData name="Liang Yang" userId="7a7c13a3-d26c-494d-9577-22c5c3f8a804" providerId="ADAL" clId="{B6DF2CCA-3EB3-48F4-8B86-B4169450C8DA}" dt="2024-06-26T20:49:20.595" v="15468" actId="948"/>
          <ac:spMkLst>
            <pc:docMk/>
            <pc:sldMk cId="2634376879" sldId="267"/>
            <ac:spMk id="2" creationId="{190C47B4-A196-DC50-2C83-9E3B6718CD8B}"/>
          </ac:spMkLst>
        </pc:spChg>
        <pc:spChg chg="mod">
          <ac:chgData name="Liang Yang" userId="7a7c13a3-d26c-494d-9577-22c5c3f8a804" providerId="ADAL" clId="{B6DF2CCA-3EB3-48F4-8B86-B4169450C8DA}" dt="2024-06-26T20:46:46.265" v="15451" actId="20577"/>
          <ac:spMkLst>
            <pc:docMk/>
            <pc:sldMk cId="2634376879" sldId="267"/>
            <ac:spMk id="3" creationId="{18809C0A-B909-174D-788D-5302929F63FA}"/>
          </ac:spMkLst>
        </pc:spChg>
        <pc:spChg chg="add del mod modVis">
          <ac:chgData name="Liang Yang" userId="7a7c13a3-d26c-494d-9577-22c5c3f8a804" providerId="ADAL" clId="{B6DF2CCA-3EB3-48F4-8B86-B4169450C8DA}" dt="2024-06-26T20:49:21.459" v="15493"/>
          <ac:spMkLst>
            <pc:docMk/>
            <pc:sldMk cId="2634376879" sldId="267"/>
            <ac:spMk id="4" creationId="{A47EA0A2-CE2E-D0C6-A850-03E2F5553AB8}"/>
          </ac:spMkLst>
        </pc:spChg>
        <pc:graphicFrameChg chg="mod">
          <ac:chgData name="Liang Yang" userId="7a7c13a3-d26c-494d-9577-22c5c3f8a804" providerId="ADAL" clId="{B6DF2CCA-3EB3-48F4-8B86-B4169450C8DA}" dt="2024-06-26T20:49:21.474" v="15495"/>
          <ac:graphicFrameMkLst>
            <pc:docMk/>
            <pc:sldMk cId="2634376879" sldId="267"/>
            <ac:graphicFrameMk id="5" creationId="{C6112179-68C2-DCF3-BF3D-B38605D02DE1}"/>
          </ac:graphicFrameMkLst>
        </pc:graphicFrameChg>
      </pc:sldChg>
      <pc:sldChg chg="del mod modShow addCm modNotesTx">
        <pc:chgData name="Liang Yang" userId="7a7c13a3-d26c-494d-9577-22c5c3f8a804" providerId="ADAL" clId="{B6DF2CCA-3EB3-48F4-8B86-B4169450C8DA}" dt="2024-06-26T15:08:15.663" v="4051" actId="47"/>
        <pc:sldMkLst>
          <pc:docMk/>
          <pc:sldMk cId="356493524" sldId="269"/>
        </pc:sldMkLst>
        <pc:extLst>
          <p:ext xmlns:p="http://schemas.openxmlformats.org/presentationml/2006/main" uri="{D6D511B9-2390-475A-947B-AFAB55BFBCF1}">
            <pc226:cmChg xmlns:pc226="http://schemas.microsoft.com/office/powerpoint/2022/06/main/command" chg="add">
              <pc226:chgData name="Liang Yang" userId="7a7c13a3-d26c-494d-9577-22c5c3f8a804" providerId="ADAL" clId="{B6DF2CCA-3EB3-48F4-8B86-B4169450C8DA}" dt="2024-06-26T04:25:16.903" v="347"/>
              <pc2:cmMkLst xmlns:pc2="http://schemas.microsoft.com/office/powerpoint/2019/9/main/command">
                <pc:docMk/>
                <pc:sldMk cId="356493524" sldId="269"/>
                <pc2:cmMk id="{7022B11D-BA27-4C54-AB17-EFE019C03D60}"/>
              </pc2:cmMkLst>
            </pc226:cmChg>
          </p:ext>
        </pc:extLst>
      </pc:sldChg>
      <pc:sldChg chg="addSp delSp modSp mod addCm modCm modNotesTx">
        <pc:chgData name="Liang Yang" userId="7a7c13a3-d26c-494d-9577-22c5c3f8a804" providerId="ADAL" clId="{B6DF2CCA-3EB3-48F4-8B86-B4169450C8DA}" dt="2024-06-26T20:58:20.187" v="15743" actId="20577"/>
        <pc:sldMkLst>
          <pc:docMk/>
          <pc:sldMk cId="2445939266" sldId="270"/>
        </pc:sldMkLst>
        <pc:spChg chg="add mod">
          <ac:chgData name="Liang Yang" userId="7a7c13a3-d26c-494d-9577-22c5c3f8a804" providerId="ADAL" clId="{B6DF2CCA-3EB3-48F4-8B86-B4169450C8DA}" dt="2024-06-26T18:12:06.277" v="8857" actId="1076"/>
          <ac:spMkLst>
            <pc:docMk/>
            <pc:sldMk cId="2445939266" sldId="270"/>
            <ac:spMk id="3" creationId="{1C8A7B06-EB0D-1DCB-CEE1-F8AB7E0C1C10}"/>
          </ac:spMkLst>
        </pc:spChg>
        <pc:spChg chg="add mod">
          <ac:chgData name="Liang Yang" userId="7a7c13a3-d26c-494d-9577-22c5c3f8a804" providerId="ADAL" clId="{B6DF2CCA-3EB3-48F4-8B86-B4169450C8DA}" dt="2024-06-26T18:02:32.264" v="8761" actId="1076"/>
          <ac:spMkLst>
            <pc:docMk/>
            <pc:sldMk cId="2445939266" sldId="270"/>
            <ac:spMk id="5" creationId="{F9C520FF-EB80-7E1D-F13D-BEB243BBBA0C}"/>
          </ac:spMkLst>
        </pc:spChg>
        <pc:spChg chg="add mod">
          <ac:chgData name="Liang Yang" userId="7a7c13a3-d26c-494d-9577-22c5c3f8a804" providerId="ADAL" clId="{B6DF2CCA-3EB3-48F4-8B86-B4169450C8DA}" dt="2024-06-26T18:00:11.334" v="8653" actId="1035"/>
          <ac:spMkLst>
            <pc:docMk/>
            <pc:sldMk cId="2445939266" sldId="270"/>
            <ac:spMk id="6" creationId="{DBDE31FA-3CA9-DB83-9CAD-62FB8B7A6E22}"/>
          </ac:spMkLst>
        </pc:spChg>
        <pc:spChg chg="add mod">
          <ac:chgData name="Liang Yang" userId="7a7c13a3-d26c-494d-9577-22c5c3f8a804" providerId="ADAL" clId="{B6DF2CCA-3EB3-48F4-8B86-B4169450C8DA}" dt="2024-06-26T18:02:43.967" v="8775" actId="1076"/>
          <ac:spMkLst>
            <pc:docMk/>
            <pc:sldMk cId="2445939266" sldId="270"/>
            <ac:spMk id="7" creationId="{B35393CB-9F25-0BCC-0F69-A597D959B9FC}"/>
          </ac:spMkLst>
        </pc:spChg>
        <pc:spChg chg="add mod">
          <ac:chgData name="Liang Yang" userId="7a7c13a3-d26c-494d-9577-22c5c3f8a804" providerId="ADAL" clId="{B6DF2CCA-3EB3-48F4-8B86-B4169450C8DA}" dt="2024-06-26T18:01:58.033" v="8733" actId="14100"/>
          <ac:spMkLst>
            <pc:docMk/>
            <pc:sldMk cId="2445939266" sldId="270"/>
            <ac:spMk id="8" creationId="{0FD4A909-657D-0BF9-B8E5-776F0C98972D}"/>
          </ac:spMkLst>
        </pc:spChg>
        <pc:spChg chg="add mod">
          <ac:chgData name="Liang Yang" userId="7a7c13a3-d26c-494d-9577-22c5c3f8a804" providerId="ADAL" clId="{B6DF2CCA-3EB3-48F4-8B86-B4169450C8DA}" dt="2024-06-26T18:03:07.432" v="8776" actId="478"/>
          <ac:spMkLst>
            <pc:docMk/>
            <pc:sldMk cId="2445939266" sldId="270"/>
            <ac:spMk id="10" creationId="{3FA81BE1-8153-440F-F327-85918ADD3B5B}"/>
          </ac:spMkLst>
        </pc:spChg>
        <pc:spChg chg="add mod">
          <ac:chgData name="Liang Yang" userId="7a7c13a3-d26c-494d-9577-22c5c3f8a804" providerId="ADAL" clId="{B6DF2CCA-3EB3-48F4-8B86-B4169450C8DA}" dt="2024-06-26T18:12:15.096" v="8868" actId="20577"/>
          <ac:spMkLst>
            <pc:docMk/>
            <pc:sldMk cId="2445939266" sldId="270"/>
            <ac:spMk id="11" creationId="{9CEA10F9-62BC-3E16-01BB-4CDFD32C935E}"/>
          </ac:spMkLst>
        </pc:spChg>
        <pc:spChg chg="add del mod">
          <ac:chgData name="Liang Yang" userId="7a7c13a3-d26c-494d-9577-22c5c3f8a804" providerId="ADAL" clId="{B6DF2CCA-3EB3-48F4-8B86-B4169450C8DA}" dt="2024-06-26T18:00:11.334" v="8653" actId="1035"/>
          <ac:spMkLst>
            <pc:docMk/>
            <pc:sldMk cId="2445939266" sldId="270"/>
            <ac:spMk id="25" creationId="{C3114F92-9BE5-D2C3-4574-B2722BEBF87F}"/>
          </ac:spMkLst>
        </pc:spChg>
        <pc:spChg chg="del">
          <ac:chgData name="Liang Yang" userId="7a7c13a3-d26c-494d-9577-22c5c3f8a804" providerId="ADAL" clId="{B6DF2CCA-3EB3-48F4-8B86-B4169450C8DA}" dt="2024-06-26T18:03:07.432" v="8776" actId="478"/>
          <ac:spMkLst>
            <pc:docMk/>
            <pc:sldMk cId="2445939266" sldId="270"/>
            <ac:spMk id="38" creationId="{63211A1B-4929-FEE4-C162-818C781E9621}"/>
          </ac:spMkLst>
        </pc:spChg>
        <pc:spChg chg="add del mod">
          <ac:chgData name="Liang Yang" userId="7a7c13a3-d26c-494d-9577-22c5c3f8a804" providerId="ADAL" clId="{B6DF2CCA-3EB3-48F4-8B86-B4169450C8DA}" dt="2024-06-26T18:00:19.017" v="8665" actId="1035"/>
          <ac:spMkLst>
            <pc:docMk/>
            <pc:sldMk cId="2445939266" sldId="270"/>
            <ac:spMk id="47" creationId="{E4DAFEC8-0F68-FAD7-DD85-23A7679944B9}"/>
          </ac:spMkLst>
        </pc:spChg>
        <pc:spChg chg="add del mod">
          <ac:chgData name="Liang Yang" userId="7a7c13a3-d26c-494d-9577-22c5c3f8a804" providerId="ADAL" clId="{B6DF2CCA-3EB3-48F4-8B86-B4169450C8DA}" dt="2024-06-26T18:00:51.710" v="8709" actId="1076"/>
          <ac:spMkLst>
            <pc:docMk/>
            <pc:sldMk cId="2445939266" sldId="270"/>
            <ac:spMk id="1024" creationId="{ED90FD5B-96CE-065D-E155-244BE0AD98EA}"/>
          </ac:spMkLst>
        </pc:spChg>
        <pc:spChg chg="mod">
          <ac:chgData name="Liang Yang" userId="7a7c13a3-d26c-494d-9577-22c5c3f8a804" providerId="ADAL" clId="{B6DF2CCA-3EB3-48F4-8B86-B4169450C8DA}" dt="2024-06-26T18:04:29.139" v="8783" actId="207"/>
          <ac:spMkLst>
            <pc:docMk/>
            <pc:sldMk cId="2445939266" sldId="270"/>
            <ac:spMk id="1051" creationId="{00EBEE05-A74B-8481-9379-EFAE3E5D2C12}"/>
          </ac:spMkLst>
        </pc:spChg>
        <pc:graphicFrameChg chg="add del mod modGraphic">
          <ac:chgData name="Liang Yang" userId="7a7c13a3-d26c-494d-9577-22c5c3f8a804" providerId="ADAL" clId="{B6DF2CCA-3EB3-48F4-8B86-B4169450C8DA}" dt="2024-06-26T17:36:05.374" v="8387" actId="478"/>
          <ac:graphicFrameMkLst>
            <pc:docMk/>
            <pc:sldMk cId="2445939266" sldId="270"/>
            <ac:graphicFrameMk id="3" creationId="{6C405EB8-6CA5-4D65-62B3-54A9032536B9}"/>
          </ac:graphicFrameMkLst>
        </pc:graphicFrameChg>
        <pc:picChg chg="mod">
          <ac:chgData name="Liang Yang" userId="7a7c13a3-d26c-494d-9577-22c5c3f8a804" providerId="ADAL" clId="{B6DF2CCA-3EB3-48F4-8B86-B4169450C8DA}" dt="2024-06-26T19:34:06.332" v="11681" actId="14100"/>
          <ac:picMkLst>
            <pc:docMk/>
            <pc:sldMk cId="2445939266" sldId="270"/>
            <ac:picMk id="40" creationId="{E75B77EC-1671-D79E-17B8-B97F1CFDE010}"/>
          </ac:picMkLst>
        </pc:picChg>
        <pc:picChg chg="add del mod">
          <ac:chgData name="Liang Yang" userId="7a7c13a3-d26c-494d-9577-22c5c3f8a804" providerId="ADAL" clId="{B6DF2CCA-3EB3-48F4-8B86-B4169450C8DA}" dt="2024-06-26T17:29:06.343" v="8308" actId="478"/>
          <ac:picMkLst>
            <pc:docMk/>
            <pc:sldMk cId="2445939266" sldId="270"/>
            <ac:picMk id="1026" creationId="{1E4F9CF3-9480-073B-65EE-15CD40A3A46C}"/>
          </ac:picMkLst>
        </pc:picChg>
        <pc:picChg chg="add del mod">
          <ac:chgData name="Liang Yang" userId="7a7c13a3-d26c-494d-9577-22c5c3f8a804" providerId="ADAL" clId="{B6DF2CCA-3EB3-48F4-8B86-B4169450C8DA}" dt="2024-06-26T18:00:11.334" v="8653" actId="1035"/>
          <ac:picMkLst>
            <pc:docMk/>
            <pc:sldMk cId="2445939266" sldId="270"/>
            <ac:picMk id="1028" creationId="{1969A9E2-DF13-D887-C54D-0545BD9B3C95}"/>
          </ac:picMkLst>
        </pc:picChg>
        <pc:picChg chg="add del mod">
          <ac:chgData name="Liang Yang" userId="7a7c13a3-d26c-494d-9577-22c5c3f8a804" providerId="ADAL" clId="{B6DF2CCA-3EB3-48F4-8B86-B4169450C8DA}" dt="2024-06-26T18:00:19.017" v="8665" actId="1035"/>
          <ac:picMkLst>
            <pc:docMk/>
            <pc:sldMk cId="2445939266" sldId="270"/>
            <ac:picMk id="1030" creationId="{7D75AFC9-CBBB-9131-2ECB-9139EA1759C7}"/>
          </ac:picMkLst>
        </pc:picChg>
        <pc:picChg chg="add del mod">
          <ac:chgData name="Liang Yang" userId="7a7c13a3-d26c-494d-9577-22c5c3f8a804" providerId="ADAL" clId="{B6DF2CCA-3EB3-48F4-8B86-B4169450C8DA}" dt="2024-06-26T18:00:33.995" v="8706" actId="1036"/>
          <ac:picMkLst>
            <pc:docMk/>
            <pc:sldMk cId="2445939266" sldId="270"/>
            <ac:picMk id="1032" creationId="{10BD44B8-A72B-1189-F580-A30D2B248C52}"/>
          </ac:picMkLst>
        </pc:picChg>
        <pc:cxnChg chg="mod">
          <ac:chgData name="Liang Yang" userId="7a7c13a3-d26c-494d-9577-22c5c3f8a804" providerId="ADAL" clId="{B6DF2CCA-3EB3-48F4-8B86-B4169450C8DA}" dt="2024-06-26T19:33:45.722" v="11680" actId="14100"/>
          <ac:cxnSpMkLst>
            <pc:docMk/>
            <pc:sldMk cId="2445939266" sldId="270"/>
            <ac:cxnSpMk id="23" creationId="{21C0FF06-C965-4668-C689-112F4ABBEE9C}"/>
          </ac:cxnSpMkLst>
        </pc:cxnChg>
        <pc:cxnChg chg="add del mod">
          <ac:chgData name="Liang Yang" userId="7a7c13a3-d26c-494d-9577-22c5c3f8a804" providerId="ADAL" clId="{B6DF2CCA-3EB3-48F4-8B86-B4169450C8DA}" dt="2024-06-26T18:00:11.334" v="8653" actId="1035"/>
          <ac:cxnSpMkLst>
            <pc:docMk/>
            <pc:sldMk cId="2445939266" sldId="270"/>
            <ac:cxnSpMk id="36" creationId="{427B59A1-6516-31AF-5E73-05AD89F2A588}"/>
          </ac:cxnSpMkLst>
        </pc:cxnChg>
        <pc:cxnChg chg="add del mod">
          <ac:chgData name="Liang Yang" userId="7a7c13a3-d26c-494d-9577-22c5c3f8a804" providerId="ADAL" clId="{B6DF2CCA-3EB3-48F4-8B86-B4169450C8DA}" dt="2024-06-26T18:00:19.017" v="8665" actId="1035"/>
          <ac:cxnSpMkLst>
            <pc:docMk/>
            <pc:sldMk cId="2445939266" sldId="270"/>
            <ac:cxnSpMk id="37" creationId="{A25FC2F7-7243-75BF-0B34-09C573FBBC83}"/>
          </ac:cxnSpMkLst>
        </pc:cxnChg>
        <pc:extLst>
          <p:ext xmlns:p="http://schemas.openxmlformats.org/presentationml/2006/main" uri="{D6D511B9-2390-475A-947B-AFAB55BFBCF1}">
            <pc226:cmChg xmlns:pc226="http://schemas.microsoft.com/office/powerpoint/2022/06/main/command" chg="add mod">
              <pc226:chgData name="Liang Yang" userId="7a7c13a3-d26c-494d-9577-22c5c3f8a804" providerId="ADAL" clId="{B6DF2CCA-3EB3-48F4-8B86-B4169450C8DA}" dt="2024-06-26T18:04:11.747" v="8782"/>
              <pc2:cmMkLst xmlns:pc2="http://schemas.microsoft.com/office/powerpoint/2019/9/main/command">
                <pc:docMk/>
                <pc:sldMk cId="2445939266" sldId="270"/>
                <pc2:cmMk id="{C9BA7E09-B03E-4B75-8DAB-CEB5BD25A643}"/>
              </pc2:cmMkLst>
            </pc226:cmChg>
          </p:ext>
        </pc:extLst>
      </pc:sldChg>
      <pc:sldChg chg="addSp delSp modSp mod modNotesTx">
        <pc:chgData name="Liang Yang" userId="7a7c13a3-d26c-494d-9577-22c5c3f8a804" providerId="ADAL" clId="{B6DF2CCA-3EB3-48F4-8B86-B4169450C8DA}" dt="2024-06-26T18:18:23.716" v="9600" actId="1076"/>
        <pc:sldMkLst>
          <pc:docMk/>
          <pc:sldMk cId="1597081" sldId="271"/>
        </pc:sldMkLst>
        <pc:spChg chg="add mod">
          <ac:chgData name="Liang Yang" userId="7a7c13a3-d26c-494d-9577-22c5c3f8a804" providerId="ADAL" clId="{B6DF2CCA-3EB3-48F4-8B86-B4169450C8DA}" dt="2024-06-26T18:03:59.014" v="8781" actId="478"/>
          <ac:spMkLst>
            <pc:docMk/>
            <pc:sldMk cId="1597081" sldId="271"/>
            <ac:spMk id="5" creationId="{FB80345B-8117-2632-7A3A-846BFF33624F}"/>
          </ac:spMkLst>
        </pc:spChg>
        <pc:spChg chg="del">
          <ac:chgData name="Liang Yang" userId="7a7c13a3-d26c-494d-9577-22c5c3f8a804" providerId="ADAL" clId="{B6DF2CCA-3EB3-48F4-8B86-B4169450C8DA}" dt="2024-06-26T18:03:59.014" v="8781" actId="478"/>
          <ac:spMkLst>
            <pc:docMk/>
            <pc:sldMk cId="1597081" sldId="271"/>
            <ac:spMk id="38" creationId="{63211A1B-4929-FEE4-C162-818C781E9621}"/>
          </ac:spMkLst>
        </pc:spChg>
        <pc:spChg chg="mod">
          <ac:chgData name="Liang Yang" userId="7a7c13a3-d26c-494d-9577-22c5c3f8a804" providerId="ADAL" clId="{B6DF2CCA-3EB3-48F4-8B86-B4169450C8DA}" dt="2024-06-26T18:03:56.983" v="8780" actId="20577"/>
          <ac:spMkLst>
            <pc:docMk/>
            <pc:sldMk cId="1597081" sldId="271"/>
            <ac:spMk id="40" creationId="{3D2FC65D-DD6A-928A-C26C-28BB1323C362}"/>
          </ac:spMkLst>
        </pc:spChg>
        <pc:picChg chg="mod">
          <ac:chgData name="Liang Yang" userId="7a7c13a3-d26c-494d-9577-22c5c3f8a804" providerId="ADAL" clId="{B6DF2CCA-3EB3-48F4-8B86-B4169450C8DA}" dt="2024-06-26T18:18:23.716" v="9600" actId="1076"/>
          <ac:picMkLst>
            <pc:docMk/>
            <pc:sldMk cId="1597081" sldId="271"/>
            <ac:picMk id="2052" creationId="{524835E6-389C-B2AB-D10C-3C665A60F202}"/>
          </ac:picMkLst>
        </pc:picChg>
      </pc:sldChg>
      <pc:sldChg chg="addSp delSp modSp mod modNotesTx">
        <pc:chgData name="Liang Yang" userId="7a7c13a3-d26c-494d-9577-22c5c3f8a804" providerId="ADAL" clId="{B6DF2CCA-3EB3-48F4-8B86-B4169450C8DA}" dt="2024-06-26T19:35:03.028" v="11803" actId="20577"/>
        <pc:sldMkLst>
          <pc:docMk/>
          <pc:sldMk cId="2431246279" sldId="273"/>
        </pc:sldMkLst>
        <pc:spChg chg="mod">
          <ac:chgData name="Liang Yang" userId="7a7c13a3-d26c-494d-9577-22c5c3f8a804" providerId="ADAL" clId="{B6DF2CCA-3EB3-48F4-8B86-B4169450C8DA}" dt="2024-06-26T15:03:36.964" v="3992" actId="948"/>
          <ac:spMkLst>
            <pc:docMk/>
            <pc:sldMk cId="2431246279" sldId="273"/>
            <ac:spMk id="2" creationId="{CBADF92F-4066-F747-AAEF-597A8340E927}"/>
          </ac:spMkLst>
        </pc:spChg>
        <pc:spChg chg="add del">
          <ac:chgData name="Liang Yang" userId="7a7c13a3-d26c-494d-9577-22c5c3f8a804" providerId="ADAL" clId="{B6DF2CCA-3EB3-48F4-8B86-B4169450C8DA}" dt="2024-06-26T04:48:54.851" v="888"/>
          <ac:spMkLst>
            <pc:docMk/>
            <pc:sldMk cId="2431246279" sldId="273"/>
            <ac:spMk id="5" creationId="{87FB618B-250F-F391-E6EA-D9777FD06C71}"/>
          </ac:spMkLst>
        </pc:spChg>
        <pc:spChg chg="add del mod modVis">
          <ac:chgData name="Liang Yang" userId="7a7c13a3-d26c-494d-9577-22c5c3f8a804" providerId="ADAL" clId="{B6DF2CCA-3EB3-48F4-8B86-B4169450C8DA}" dt="2024-06-26T05:47:25.537" v="1372" actId="962"/>
          <ac:spMkLst>
            <pc:docMk/>
            <pc:sldMk cId="2431246279" sldId="273"/>
            <ac:spMk id="5" creationId="{AAA8D820-F411-A0F2-6FD2-9D5A2290EF4C}"/>
          </ac:spMkLst>
        </pc:spChg>
        <pc:spChg chg="add del">
          <ac:chgData name="Liang Yang" userId="7a7c13a3-d26c-494d-9577-22c5c3f8a804" providerId="ADAL" clId="{B6DF2CCA-3EB3-48F4-8B86-B4169450C8DA}" dt="2024-06-26T05:48:51.593" v="2153" actId="478"/>
          <ac:spMkLst>
            <pc:docMk/>
            <pc:sldMk cId="2431246279" sldId="273"/>
            <ac:spMk id="6" creationId="{6C606C48-D868-0ADA-DBFA-CDCA7DBAD28D}"/>
          </ac:spMkLst>
        </pc:spChg>
        <pc:spChg chg="add del">
          <ac:chgData name="Liang Yang" userId="7a7c13a3-d26c-494d-9577-22c5c3f8a804" providerId="ADAL" clId="{B6DF2CCA-3EB3-48F4-8B86-B4169450C8DA}" dt="2024-06-26T04:49:15.780" v="894"/>
          <ac:spMkLst>
            <pc:docMk/>
            <pc:sldMk cId="2431246279" sldId="273"/>
            <ac:spMk id="8" creationId="{13DBD453-049F-D63D-A17C-A59E510AE591}"/>
          </ac:spMkLst>
        </pc:spChg>
        <pc:spChg chg="add del mod modVis">
          <ac:chgData name="Liang Yang" userId="7a7c13a3-d26c-494d-9577-22c5c3f8a804" providerId="ADAL" clId="{B6DF2CCA-3EB3-48F4-8B86-B4169450C8DA}" dt="2024-06-26T05:47:35.834" v="1447"/>
          <ac:spMkLst>
            <pc:docMk/>
            <pc:sldMk cId="2431246279" sldId="273"/>
            <ac:spMk id="8" creationId="{34C4DEEB-325A-DB8C-0B32-E5869FCFE878}"/>
          </ac:spMkLst>
        </pc:spChg>
        <pc:spChg chg="add del">
          <ac:chgData name="Liang Yang" userId="7a7c13a3-d26c-494d-9577-22c5c3f8a804" providerId="ADAL" clId="{B6DF2CCA-3EB3-48F4-8B86-B4169450C8DA}" dt="2024-06-26T05:48:51.593" v="2153" actId="478"/>
          <ac:spMkLst>
            <pc:docMk/>
            <pc:sldMk cId="2431246279" sldId="273"/>
            <ac:spMk id="9" creationId="{76AF5A67-A96D-A899-BB90-0F6D84AFF91B}"/>
          </ac:spMkLst>
        </pc:spChg>
        <pc:spChg chg="add del mod modVis">
          <ac:chgData name="Liang Yang" userId="7a7c13a3-d26c-494d-9577-22c5c3f8a804" providerId="ADAL" clId="{B6DF2CCA-3EB3-48F4-8B86-B4169450C8DA}" dt="2024-06-26T05:47:39.778" v="1498"/>
          <ac:spMkLst>
            <pc:docMk/>
            <pc:sldMk cId="2431246279" sldId="273"/>
            <ac:spMk id="10" creationId="{9285A715-6151-9DB2-E959-6C0533426C81}"/>
          </ac:spMkLst>
        </pc:spChg>
        <pc:spChg chg="add del">
          <ac:chgData name="Liang Yang" userId="7a7c13a3-d26c-494d-9577-22c5c3f8a804" providerId="ADAL" clId="{B6DF2CCA-3EB3-48F4-8B86-B4169450C8DA}" dt="2024-06-26T04:49:44.421" v="896"/>
          <ac:spMkLst>
            <pc:docMk/>
            <pc:sldMk cId="2431246279" sldId="273"/>
            <ac:spMk id="10" creationId="{EA80E74A-9B49-FD2B-FD21-5CA4FF0C40E7}"/>
          </ac:spMkLst>
        </pc:spChg>
        <pc:spChg chg="add del">
          <ac:chgData name="Liang Yang" userId="7a7c13a3-d26c-494d-9577-22c5c3f8a804" providerId="ADAL" clId="{B6DF2CCA-3EB3-48F4-8B86-B4169450C8DA}" dt="2024-06-26T04:49:59.224" v="898"/>
          <ac:spMkLst>
            <pc:docMk/>
            <pc:sldMk cId="2431246279" sldId="273"/>
            <ac:spMk id="11" creationId="{9E86C3EA-7CCB-E8F7-CD2E-DAF1F7579750}"/>
          </ac:spMkLst>
        </pc:spChg>
        <pc:spChg chg="add del mod modVis">
          <ac:chgData name="Liang Yang" userId="7a7c13a3-d26c-494d-9577-22c5c3f8a804" providerId="ADAL" clId="{B6DF2CCA-3EB3-48F4-8B86-B4169450C8DA}" dt="2024-06-26T05:47:40.106" v="1527"/>
          <ac:spMkLst>
            <pc:docMk/>
            <pc:sldMk cId="2431246279" sldId="273"/>
            <ac:spMk id="11" creationId="{D1FAAA31-DB30-D122-8EC6-307FF4B22496}"/>
          </ac:spMkLst>
        </pc:spChg>
        <pc:spChg chg="add del mod modVis">
          <ac:chgData name="Liang Yang" userId="7a7c13a3-d26c-494d-9577-22c5c3f8a804" providerId="ADAL" clId="{B6DF2CCA-3EB3-48F4-8B86-B4169450C8DA}" dt="2024-06-26T05:47:41.403" v="1561"/>
          <ac:spMkLst>
            <pc:docMk/>
            <pc:sldMk cId="2431246279" sldId="273"/>
            <ac:spMk id="12" creationId="{F1C82F3A-E7C3-3A2A-80B7-2B1367CB25FA}"/>
          </ac:spMkLst>
        </pc:spChg>
        <pc:spChg chg="add del">
          <ac:chgData name="Liang Yang" userId="7a7c13a3-d26c-494d-9577-22c5c3f8a804" providerId="ADAL" clId="{B6DF2CCA-3EB3-48F4-8B86-B4169450C8DA}" dt="2024-06-26T05:48:51.593" v="2153" actId="478"/>
          <ac:spMkLst>
            <pc:docMk/>
            <pc:sldMk cId="2431246279" sldId="273"/>
            <ac:spMk id="13" creationId="{4D675EC5-B653-FCEB-618B-4A9F1B355FF6}"/>
          </ac:spMkLst>
        </pc:spChg>
        <pc:spChg chg="add del">
          <ac:chgData name="Liang Yang" userId="7a7c13a3-d26c-494d-9577-22c5c3f8a804" providerId="ADAL" clId="{B6DF2CCA-3EB3-48F4-8B86-B4169450C8DA}" dt="2024-06-26T05:48:51.593" v="2153" actId="478"/>
          <ac:spMkLst>
            <pc:docMk/>
            <pc:sldMk cId="2431246279" sldId="273"/>
            <ac:spMk id="14" creationId="{60DBA03E-5ECF-3230-05FA-59BF9D9BBECA}"/>
          </ac:spMkLst>
        </pc:spChg>
        <pc:spChg chg="add del mod modVis">
          <ac:chgData name="Liang Yang" userId="7a7c13a3-d26c-494d-9577-22c5c3f8a804" providerId="ADAL" clId="{B6DF2CCA-3EB3-48F4-8B86-B4169450C8DA}" dt="2024-06-26T05:47:43.907" v="1595"/>
          <ac:spMkLst>
            <pc:docMk/>
            <pc:sldMk cId="2431246279" sldId="273"/>
            <ac:spMk id="16" creationId="{DC032FD1-0E1A-E87A-110B-7AE2B99E35AA}"/>
          </ac:spMkLst>
        </pc:spChg>
        <pc:spChg chg="add del mod modVis">
          <ac:chgData name="Liang Yang" userId="7a7c13a3-d26c-494d-9577-22c5c3f8a804" providerId="ADAL" clId="{B6DF2CCA-3EB3-48F4-8B86-B4169450C8DA}" dt="2024-06-26T04:50:34.672" v="931"/>
          <ac:spMkLst>
            <pc:docMk/>
            <pc:sldMk cId="2431246279" sldId="273"/>
            <ac:spMk id="16" creationId="{DCEFDD6F-8EB6-9C17-3E00-631C1DEDE746}"/>
          </ac:spMkLst>
        </pc:spChg>
        <pc:spChg chg="add del mod modVis">
          <ac:chgData name="Liang Yang" userId="7a7c13a3-d26c-494d-9577-22c5c3f8a804" providerId="ADAL" clId="{B6DF2CCA-3EB3-48F4-8B86-B4169450C8DA}" dt="2024-06-26T05:47:44.688" v="1623"/>
          <ac:spMkLst>
            <pc:docMk/>
            <pc:sldMk cId="2431246279" sldId="273"/>
            <ac:spMk id="21" creationId="{15976D64-7478-A8EE-B321-61D836B2B52C}"/>
          </ac:spMkLst>
        </pc:spChg>
        <pc:spChg chg="add del mod modVis">
          <ac:chgData name="Liang Yang" userId="7a7c13a3-d26c-494d-9577-22c5c3f8a804" providerId="ADAL" clId="{B6DF2CCA-3EB3-48F4-8B86-B4169450C8DA}" dt="2024-06-26T04:50:35.392" v="961"/>
          <ac:spMkLst>
            <pc:docMk/>
            <pc:sldMk cId="2431246279" sldId="273"/>
            <ac:spMk id="21" creationId="{BBC46A4B-C734-B654-11A6-4B43AEBBA394}"/>
          </ac:spMkLst>
        </pc:spChg>
        <pc:spChg chg="add del">
          <ac:chgData name="Liang Yang" userId="7a7c13a3-d26c-494d-9577-22c5c3f8a804" providerId="ADAL" clId="{B6DF2CCA-3EB3-48F4-8B86-B4169450C8DA}" dt="2024-06-26T05:48:51.593" v="2153" actId="478"/>
          <ac:spMkLst>
            <pc:docMk/>
            <pc:sldMk cId="2431246279" sldId="273"/>
            <ac:spMk id="22" creationId="{A0DA93DC-B8C3-5067-DFF9-8A61C599FA1E}"/>
          </ac:spMkLst>
        </pc:spChg>
        <pc:spChg chg="add del mod modVis">
          <ac:chgData name="Liang Yang" userId="7a7c13a3-d26c-494d-9577-22c5c3f8a804" providerId="ADAL" clId="{B6DF2CCA-3EB3-48F4-8B86-B4169450C8DA}" dt="2024-06-26T05:47:46.395" v="1657"/>
          <ac:spMkLst>
            <pc:docMk/>
            <pc:sldMk cId="2431246279" sldId="273"/>
            <ac:spMk id="23" creationId="{B52A63DA-6219-9936-08B6-8DC72FC58733}"/>
          </ac:spMkLst>
        </pc:spChg>
        <pc:spChg chg="add del mod modVis">
          <ac:chgData name="Liang Yang" userId="7a7c13a3-d26c-494d-9577-22c5c3f8a804" providerId="ADAL" clId="{B6DF2CCA-3EB3-48F4-8B86-B4169450C8DA}" dt="2024-06-26T05:47:48.523" v="1694"/>
          <ac:spMkLst>
            <pc:docMk/>
            <pc:sldMk cId="2431246279" sldId="273"/>
            <ac:spMk id="24" creationId="{C1DCF9FB-5661-4066-AC5D-6E27406E3FAA}"/>
          </ac:spMkLst>
        </pc:spChg>
        <pc:spChg chg="add del mod modVis">
          <ac:chgData name="Liang Yang" userId="7a7c13a3-d26c-494d-9577-22c5c3f8a804" providerId="ADAL" clId="{B6DF2CCA-3EB3-48F4-8B86-B4169450C8DA}" dt="2024-06-26T05:47:49.414" v="1727"/>
          <ac:spMkLst>
            <pc:docMk/>
            <pc:sldMk cId="2431246279" sldId="273"/>
            <ac:spMk id="25" creationId="{2A971325-6F9A-2939-A81C-8F587B3A7FDF}"/>
          </ac:spMkLst>
        </pc:spChg>
        <pc:spChg chg="add del mod modVis">
          <ac:chgData name="Liang Yang" userId="7a7c13a3-d26c-494d-9577-22c5c3f8a804" providerId="ADAL" clId="{B6DF2CCA-3EB3-48F4-8B86-B4169450C8DA}" dt="2024-06-26T05:47:51.947" v="1771"/>
          <ac:spMkLst>
            <pc:docMk/>
            <pc:sldMk cId="2431246279" sldId="273"/>
            <ac:spMk id="27" creationId="{CE0EAC12-F9B0-8015-5A78-B88B4E130407}"/>
          </ac:spMkLst>
        </pc:spChg>
        <pc:spChg chg="add del mod modVis">
          <ac:chgData name="Liang Yang" userId="7a7c13a3-d26c-494d-9577-22c5c3f8a804" providerId="ADAL" clId="{B6DF2CCA-3EB3-48F4-8B86-B4169450C8DA}" dt="2024-06-26T05:47:57.327" v="1806"/>
          <ac:spMkLst>
            <pc:docMk/>
            <pc:sldMk cId="2431246279" sldId="273"/>
            <ac:spMk id="28" creationId="{70D476EC-559A-01A0-6654-9C85A731D15E}"/>
          </ac:spMkLst>
        </pc:spChg>
        <pc:spChg chg="add del">
          <ac:chgData name="Liang Yang" userId="7a7c13a3-d26c-494d-9577-22c5c3f8a804" providerId="ADAL" clId="{B6DF2CCA-3EB3-48F4-8B86-B4169450C8DA}" dt="2024-06-26T05:48:51.593" v="2153" actId="478"/>
          <ac:spMkLst>
            <pc:docMk/>
            <pc:sldMk cId="2431246279" sldId="273"/>
            <ac:spMk id="29" creationId="{D8686725-98D9-B923-48B3-F66A1EEB4B3C}"/>
          </ac:spMkLst>
        </pc:spChg>
        <pc:spChg chg="add del mod modVis">
          <ac:chgData name="Liang Yang" userId="7a7c13a3-d26c-494d-9577-22c5c3f8a804" providerId="ADAL" clId="{B6DF2CCA-3EB3-48F4-8B86-B4169450C8DA}" dt="2024-06-26T05:47:58.609" v="1841"/>
          <ac:spMkLst>
            <pc:docMk/>
            <pc:sldMk cId="2431246279" sldId="273"/>
            <ac:spMk id="30" creationId="{EE765728-6743-36FC-AA42-E6FB08459377}"/>
          </ac:spMkLst>
        </pc:spChg>
        <pc:spChg chg="add del mod modVis">
          <ac:chgData name="Liang Yang" userId="7a7c13a3-d26c-494d-9577-22c5c3f8a804" providerId="ADAL" clId="{B6DF2CCA-3EB3-48F4-8B86-B4169450C8DA}" dt="2024-06-26T05:48:01.656" v="1878"/>
          <ac:spMkLst>
            <pc:docMk/>
            <pc:sldMk cId="2431246279" sldId="273"/>
            <ac:spMk id="31" creationId="{09A90B8B-49D7-6BE7-14A8-07E9A09CEC76}"/>
          </ac:spMkLst>
        </pc:spChg>
        <pc:spChg chg="add del mod modVis">
          <ac:chgData name="Liang Yang" userId="7a7c13a3-d26c-494d-9577-22c5c3f8a804" providerId="ADAL" clId="{B6DF2CCA-3EB3-48F4-8B86-B4169450C8DA}" dt="2024-06-26T05:48:04.414" v="1921"/>
          <ac:spMkLst>
            <pc:docMk/>
            <pc:sldMk cId="2431246279" sldId="273"/>
            <ac:spMk id="32" creationId="{F672A2F4-5320-826B-08BE-702868CA2897}"/>
          </ac:spMkLst>
        </pc:spChg>
        <pc:spChg chg="add del mod modVis">
          <ac:chgData name="Liang Yang" userId="7a7c13a3-d26c-494d-9577-22c5c3f8a804" providerId="ADAL" clId="{B6DF2CCA-3EB3-48F4-8B86-B4169450C8DA}" dt="2024-06-26T05:48:05.748" v="1951"/>
          <ac:spMkLst>
            <pc:docMk/>
            <pc:sldMk cId="2431246279" sldId="273"/>
            <ac:spMk id="33" creationId="{85E3C1DE-BCA4-C49C-3567-CBD2BBD014B9}"/>
          </ac:spMkLst>
        </pc:spChg>
        <pc:spChg chg="add del mod modVis">
          <ac:chgData name="Liang Yang" userId="7a7c13a3-d26c-494d-9577-22c5c3f8a804" providerId="ADAL" clId="{B6DF2CCA-3EB3-48F4-8B86-B4169450C8DA}" dt="2024-06-26T05:48:06.972" v="1981"/>
          <ac:spMkLst>
            <pc:docMk/>
            <pc:sldMk cId="2431246279" sldId="273"/>
            <ac:spMk id="34" creationId="{75F3A26A-4140-157C-F7D2-ACE9054F8C64}"/>
          </ac:spMkLst>
        </pc:spChg>
        <pc:spChg chg="add del mod modVis">
          <ac:chgData name="Liang Yang" userId="7a7c13a3-d26c-494d-9577-22c5c3f8a804" providerId="ADAL" clId="{B6DF2CCA-3EB3-48F4-8B86-B4169450C8DA}" dt="2024-06-26T05:48:07.786" v="2011"/>
          <ac:spMkLst>
            <pc:docMk/>
            <pc:sldMk cId="2431246279" sldId="273"/>
            <ac:spMk id="35" creationId="{3D66CEA9-49C3-2FDB-2F1A-F53653C4945F}"/>
          </ac:spMkLst>
        </pc:spChg>
        <pc:spChg chg="add del mod modVis">
          <ac:chgData name="Liang Yang" userId="7a7c13a3-d26c-494d-9577-22c5c3f8a804" providerId="ADAL" clId="{B6DF2CCA-3EB3-48F4-8B86-B4169450C8DA}" dt="2024-06-26T05:48:08.489" v="2042"/>
          <ac:spMkLst>
            <pc:docMk/>
            <pc:sldMk cId="2431246279" sldId="273"/>
            <ac:spMk id="36" creationId="{82EB65FF-64FA-6531-4B6B-AB4BFDB6FF8F}"/>
          </ac:spMkLst>
        </pc:spChg>
        <pc:spChg chg="add del mod modVis">
          <ac:chgData name="Liang Yang" userId="7a7c13a3-d26c-494d-9577-22c5c3f8a804" providerId="ADAL" clId="{B6DF2CCA-3EB3-48F4-8B86-B4169450C8DA}" dt="2024-06-26T05:48:10.678" v="2079"/>
          <ac:spMkLst>
            <pc:docMk/>
            <pc:sldMk cId="2431246279" sldId="273"/>
            <ac:spMk id="37" creationId="{D1D4FC3C-214F-FD0E-3464-7038183980E0}"/>
          </ac:spMkLst>
        </pc:spChg>
        <pc:spChg chg="del">
          <ac:chgData name="Liang Yang" userId="7a7c13a3-d26c-494d-9577-22c5c3f8a804" providerId="ADAL" clId="{B6DF2CCA-3EB3-48F4-8B86-B4169450C8DA}" dt="2024-06-26T05:48:51.593" v="2153" actId="478"/>
          <ac:spMkLst>
            <pc:docMk/>
            <pc:sldMk cId="2431246279" sldId="273"/>
            <ac:spMk id="38" creationId="{63211A1B-4929-FEE4-C162-818C781E9621}"/>
          </ac:spMkLst>
        </pc:spChg>
        <pc:spChg chg="add del mod modVis">
          <ac:chgData name="Liang Yang" userId="7a7c13a3-d26c-494d-9577-22c5c3f8a804" providerId="ADAL" clId="{B6DF2CCA-3EB3-48F4-8B86-B4169450C8DA}" dt="2024-06-26T05:48:12.244" v="2112"/>
          <ac:spMkLst>
            <pc:docMk/>
            <pc:sldMk cId="2431246279" sldId="273"/>
            <ac:spMk id="39" creationId="{9935CD79-7BEB-C6EB-9327-C028D3870A12}"/>
          </ac:spMkLst>
        </pc:spChg>
        <pc:spChg chg="add del mod modVis">
          <ac:chgData name="Liang Yang" userId="7a7c13a3-d26c-494d-9577-22c5c3f8a804" providerId="ADAL" clId="{B6DF2CCA-3EB3-48F4-8B86-B4169450C8DA}" dt="2024-06-26T05:48:13.560" v="2145"/>
          <ac:spMkLst>
            <pc:docMk/>
            <pc:sldMk cId="2431246279" sldId="273"/>
            <ac:spMk id="40" creationId="{813020DB-3991-E752-4989-AF125098A1AC}"/>
          </ac:spMkLst>
        </pc:spChg>
        <pc:spChg chg="add mod">
          <ac:chgData name="Liang Yang" userId="7a7c13a3-d26c-494d-9577-22c5c3f8a804" providerId="ADAL" clId="{B6DF2CCA-3EB3-48F4-8B86-B4169450C8DA}" dt="2024-06-26T15:00:00.141" v="3908" actId="947"/>
          <ac:spMkLst>
            <pc:docMk/>
            <pc:sldMk cId="2431246279" sldId="273"/>
            <ac:spMk id="42" creationId="{5C3F5DEA-A10C-8E86-48A8-B871499E9465}"/>
          </ac:spMkLst>
        </pc:spChg>
        <pc:spChg chg="add del mod modVis">
          <ac:chgData name="Liang Yang" userId="7a7c13a3-d26c-494d-9577-22c5c3f8a804" providerId="ADAL" clId="{B6DF2CCA-3EB3-48F4-8B86-B4169450C8DA}" dt="2024-06-26T14:41:48.497" v="3203"/>
          <ac:spMkLst>
            <pc:docMk/>
            <pc:sldMk cId="2431246279" sldId="273"/>
            <ac:spMk id="43" creationId="{2883640F-42F6-6EAD-62D2-55322182CE08}"/>
          </ac:spMkLst>
        </pc:spChg>
        <pc:spChg chg="add del mod modVis">
          <ac:chgData name="Liang Yang" userId="7a7c13a3-d26c-494d-9577-22c5c3f8a804" providerId="ADAL" clId="{B6DF2CCA-3EB3-48F4-8B86-B4169450C8DA}" dt="2024-06-26T14:41:56.778" v="3244"/>
          <ac:spMkLst>
            <pc:docMk/>
            <pc:sldMk cId="2431246279" sldId="273"/>
            <ac:spMk id="44" creationId="{B0861868-6030-C261-FDB4-B3E6FE42543E}"/>
          </ac:spMkLst>
        </pc:spChg>
        <pc:spChg chg="add del mod modVis">
          <ac:chgData name="Liang Yang" userId="7a7c13a3-d26c-494d-9577-22c5c3f8a804" providerId="ADAL" clId="{B6DF2CCA-3EB3-48F4-8B86-B4169450C8DA}" dt="2024-06-26T14:41:58.294" v="3281"/>
          <ac:spMkLst>
            <pc:docMk/>
            <pc:sldMk cId="2431246279" sldId="273"/>
            <ac:spMk id="45" creationId="{F4F2E991-3D37-4C94-3BD4-4DAA86F96FD1}"/>
          </ac:spMkLst>
        </pc:spChg>
        <pc:spChg chg="add del mod modVis">
          <ac:chgData name="Liang Yang" userId="7a7c13a3-d26c-494d-9577-22c5c3f8a804" providerId="ADAL" clId="{B6DF2CCA-3EB3-48F4-8B86-B4169450C8DA}" dt="2024-06-26T14:41:58.966" v="3309"/>
          <ac:spMkLst>
            <pc:docMk/>
            <pc:sldMk cId="2431246279" sldId="273"/>
            <ac:spMk id="46" creationId="{145326FA-5E4F-4022-0661-4E91EA5BD8BA}"/>
          </ac:spMkLst>
        </pc:spChg>
        <pc:spChg chg="add mod">
          <ac:chgData name="Liang Yang" userId="7a7c13a3-d26c-494d-9577-22c5c3f8a804" providerId="ADAL" clId="{B6DF2CCA-3EB3-48F4-8B86-B4169450C8DA}" dt="2024-06-26T15:00:18.257" v="3989" actId="947"/>
          <ac:spMkLst>
            <pc:docMk/>
            <pc:sldMk cId="2431246279" sldId="273"/>
            <ac:spMk id="49" creationId="{763E8EDC-61E2-32CF-097C-C65E79CC6158}"/>
          </ac:spMkLst>
        </pc:spChg>
        <pc:spChg chg="add mod">
          <ac:chgData name="Liang Yang" userId="7a7c13a3-d26c-494d-9577-22c5c3f8a804" providerId="ADAL" clId="{B6DF2CCA-3EB3-48F4-8B86-B4169450C8DA}" dt="2024-06-26T14:44:38.987" v="3329" actId="571"/>
          <ac:spMkLst>
            <pc:docMk/>
            <pc:sldMk cId="2431246279" sldId="273"/>
            <ac:spMk id="51" creationId="{81415242-0780-71D5-D9EF-EE9C976E29B7}"/>
          </ac:spMkLst>
        </pc:spChg>
        <pc:spChg chg="add mod">
          <ac:chgData name="Liang Yang" userId="7a7c13a3-d26c-494d-9577-22c5c3f8a804" providerId="ADAL" clId="{B6DF2CCA-3EB3-48F4-8B86-B4169450C8DA}" dt="2024-06-26T14:44:44.128" v="3331" actId="571"/>
          <ac:spMkLst>
            <pc:docMk/>
            <pc:sldMk cId="2431246279" sldId="273"/>
            <ac:spMk id="53" creationId="{22C3A814-DB94-D27C-A55A-18C0D14D0804}"/>
          </ac:spMkLst>
        </pc:spChg>
        <pc:spChg chg="add del mod">
          <ac:chgData name="Liang Yang" userId="7a7c13a3-d26c-494d-9577-22c5c3f8a804" providerId="ADAL" clId="{B6DF2CCA-3EB3-48F4-8B86-B4169450C8DA}" dt="2024-06-26T14:46:08.441" v="3427" actId="478"/>
          <ac:spMkLst>
            <pc:docMk/>
            <pc:sldMk cId="2431246279" sldId="273"/>
            <ac:spMk id="54" creationId="{90748FCC-CF4A-7A3E-B4EE-5EC529565184}"/>
          </ac:spMkLst>
        </pc:spChg>
        <pc:spChg chg="add mod">
          <ac:chgData name="Liang Yang" userId="7a7c13a3-d26c-494d-9577-22c5c3f8a804" providerId="ADAL" clId="{B6DF2CCA-3EB3-48F4-8B86-B4169450C8DA}" dt="2024-06-26T15:00:18.257" v="3990" actId="790"/>
          <ac:spMkLst>
            <pc:docMk/>
            <pc:sldMk cId="2431246279" sldId="273"/>
            <ac:spMk id="55" creationId="{FFEFC331-37C8-4FC1-88C9-E1A3BB295D18}"/>
          </ac:spMkLst>
        </pc:spChg>
        <pc:spChg chg="mod">
          <ac:chgData name="Liang Yang" userId="7a7c13a3-d26c-494d-9577-22c5c3f8a804" providerId="ADAL" clId="{B6DF2CCA-3EB3-48F4-8B86-B4169450C8DA}" dt="2024-06-26T15:00:10.179" v="3984" actId="947"/>
          <ac:spMkLst>
            <pc:docMk/>
            <pc:sldMk cId="2431246279" sldId="273"/>
            <ac:spMk id="58" creationId="{95DC539A-4E9C-BC9D-4400-B6BDDF1A66D4}"/>
          </ac:spMkLst>
        </pc:spChg>
        <pc:spChg chg="mod">
          <ac:chgData name="Liang Yang" userId="7a7c13a3-d26c-494d-9577-22c5c3f8a804" providerId="ADAL" clId="{B6DF2CCA-3EB3-48F4-8B86-B4169450C8DA}" dt="2024-06-26T15:00:10.257" v="3985" actId="790"/>
          <ac:spMkLst>
            <pc:docMk/>
            <pc:sldMk cId="2431246279" sldId="273"/>
            <ac:spMk id="59" creationId="{D097CA88-7759-FBAB-EE7B-266566BE0F22}"/>
          </ac:spMkLst>
        </pc:spChg>
        <pc:spChg chg="add mod">
          <ac:chgData name="Liang Yang" userId="7a7c13a3-d26c-494d-9577-22c5c3f8a804" providerId="ADAL" clId="{B6DF2CCA-3EB3-48F4-8B86-B4169450C8DA}" dt="2024-06-26T15:00:00.192" v="3938" actId="947"/>
          <ac:spMkLst>
            <pc:docMk/>
            <pc:sldMk cId="2431246279" sldId="273"/>
            <ac:spMk id="61" creationId="{59ED8386-72E7-2B8F-C90F-F6CFB718245E}"/>
          </ac:spMkLst>
        </pc:spChg>
        <pc:spChg chg="add mod">
          <ac:chgData name="Liang Yang" userId="7a7c13a3-d26c-494d-9577-22c5c3f8a804" providerId="ADAL" clId="{B6DF2CCA-3EB3-48F4-8B86-B4169450C8DA}" dt="2024-06-26T15:00:00.197" v="3940" actId="947"/>
          <ac:spMkLst>
            <pc:docMk/>
            <pc:sldMk cId="2431246279" sldId="273"/>
            <ac:spMk id="62" creationId="{B0991D2A-5534-ABEA-3B63-B1162C47DE85}"/>
          </ac:spMkLst>
        </pc:spChg>
        <pc:spChg chg="add mod">
          <ac:chgData name="Liang Yang" userId="7a7c13a3-d26c-494d-9577-22c5c3f8a804" providerId="ADAL" clId="{B6DF2CCA-3EB3-48F4-8B86-B4169450C8DA}" dt="2024-06-26T15:00:00.197" v="3942" actId="947"/>
          <ac:spMkLst>
            <pc:docMk/>
            <pc:sldMk cId="2431246279" sldId="273"/>
            <ac:spMk id="63" creationId="{42E0AA54-ACAE-F374-0B9F-E96E17515606}"/>
          </ac:spMkLst>
        </pc:spChg>
        <pc:spChg chg="add mod">
          <ac:chgData name="Liang Yang" userId="7a7c13a3-d26c-494d-9577-22c5c3f8a804" providerId="ADAL" clId="{B6DF2CCA-3EB3-48F4-8B86-B4169450C8DA}" dt="2024-06-26T15:00:00.201" v="3944" actId="947"/>
          <ac:spMkLst>
            <pc:docMk/>
            <pc:sldMk cId="2431246279" sldId="273"/>
            <ac:spMk id="5120" creationId="{00C1F20D-0CB6-8F9A-8799-C2E8B4F72972}"/>
          </ac:spMkLst>
        </pc:spChg>
        <pc:spChg chg="add mod">
          <ac:chgData name="Liang Yang" userId="7a7c13a3-d26c-494d-9577-22c5c3f8a804" providerId="ADAL" clId="{B6DF2CCA-3EB3-48F4-8B86-B4169450C8DA}" dt="2024-06-26T15:00:00.201" v="3946" actId="947"/>
          <ac:spMkLst>
            <pc:docMk/>
            <pc:sldMk cId="2431246279" sldId="273"/>
            <ac:spMk id="5121" creationId="{F0F4AA54-8A92-083B-6354-501C9544A6C9}"/>
          </ac:spMkLst>
        </pc:spChg>
        <pc:spChg chg="add del mod">
          <ac:chgData name="Liang Yang" userId="7a7c13a3-d26c-494d-9577-22c5c3f8a804" providerId="ADAL" clId="{B6DF2CCA-3EB3-48F4-8B86-B4169450C8DA}" dt="2024-06-26T14:51:19.957" v="3500" actId="478"/>
          <ac:spMkLst>
            <pc:docMk/>
            <pc:sldMk cId="2431246279" sldId="273"/>
            <ac:spMk id="5122" creationId="{65DC15CA-73D9-807D-5D5A-3413D40FD19E}"/>
          </ac:spMkLst>
        </pc:spChg>
        <pc:spChg chg="add del mod">
          <ac:chgData name="Liang Yang" userId="7a7c13a3-d26c-494d-9577-22c5c3f8a804" providerId="ADAL" clId="{B6DF2CCA-3EB3-48F4-8B86-B4169450C8DA}" dt="2024-06-26T14:51:19.957" v="3500" actId="478"/>
          <ac:spMkLst>
            <pc:docMk/>
            <pc:sldMk cId="2431246279" sldId="273"/>
            <ac:spMk id="5123" creationId="{8182D0E8-1D51-3F9D-99DB-808516F3AA03}"/>
          </ac:spMkLst>
        </pc:spChg>
        <pc:spChg chg="add mod">
          <ac:chgData name="Liang Yang" userId="7a7c13a3-d26c-494d-9577-22c5c3f8a804" providerId="ADAL" clId="{B6DF2CCA-3EB3-48F4-8B86-B4169450C8DA}" dt="2024-06-26T15:00:00.206" v="3948" actId="947"/>
          <ac:spMkLst>
            <pc:docMk/>
            <pc:sldMk cId="2431246279" sldId="273"/>
            <ac:spMk id="5124" creationId="{A961906A-B644-3468-4E74-5226D058CCB4}"/>
          </ac:spMkLst>
        </pc:spChg>
        <pc:spChg chg="add mod">
          <ac:chgData name="Liang Yang" userId="7a7c13a3-d26c-494d-9577-22c5c3f8a804" providerId="ADAL" clId="{B6DF2CCA-3EB3-48F4-8B86-B4169450C8DA}" dt="2024-06-26T15:00:00.211" v="3950" actId="947"/>
          <ac:spMkLst>
            <pc:docMk/>
            <pc:sldMk cId="2431246279" sldId="273"/>
            <ac:spMk id="5125" creationId="{F37C148D-61D8-D0BA-CC06-EBF1DD5D61E8}"/>
          </ac:spMkLst>
        </pc:spChg>
        <pc:spChg chg="add mod">
          <ac:chgData name="Liang Yang" userId="7a7c13a3-d26c-494d-9577-22c5c3f8a804" providerId="ADAL" clId="{B6DF2CCA-3EB3-48F4-8B86-B4169450C8DA}" dt="2024-06-26T15:00:00.211" v="3952" actId="947"/>
          <ac:spMkLst>
            <pc:docMk/>
            <pc:sldMk cId="2431246279" sldId="273"/>
            <ac:spMk id="5126" creationId="{BC6E6439-1EE1-E4B9-DB88-BCA78F54E1FC}"/>
          </ac:spMkLst>
        </pc:spChg>
        <pc:spChg chg="del mod modVis">
          <ac:chgData name="Liang Yang" userId="7a7c13a3-d26c-494d-9577-22c5c3f8a804" providerId="ADAL" clId="{B6DF2CCA-3EB3-48F4-8B86-B4169450C8DA}" dt="2024-06-26T15:00:00.285" v="3974" actId="478"/>
          <ac:spMkLst>
            <pc:docMk/>
            <pc:sldMk cId="2431246279" sldId="273"/>
            <ac:spMk id="5127" creationId="{DE166897-A0C1-9725-EB28-E7789D192886}"/>
          </ac:spMkLst>
        </pc:spChg>
        <pc:spChg chg="add del mod modVis">
          <ac:chgData name="Liang Yang" userId="7a7c13a3-d26c-494d-9577-22c5c3f8a804" providerId="ADAL" clId="{B6DF2CCA-3EB3-48F4-8B86-B4169450C8DA}" dt="2024-06-26T15:03:37.058" v="4016"/>
          <ac:spMkLst>
            <pc:docMk/>
            <pc:sldMk cId="2431246279" sldId="273"/>
            <ac:spMk id="5128" creationId="{75A48DE3-B3A6-1DBA-B542-631B1A352494}"/>
          </ac:spMkLst>
        </pc:spChg>
        <pc:spChg chg="add mod">
          <ac:chgData name="Liang Yang" userId="7a7c13a3-d26c-494d-9577-22c5c3f8a804" providerId="ADAL" clId="{B6DF2CCA-3EB3-48F4-8B86-B4169450C8DA}" dt="2024-06-26T15:06:47.066" v="4033" actId="1035"/>
          <ac:spMkLst>
            <pc:docMk/>
            <pc:sldMk cId="2431246279" sldId="273"/>
            <ac:spMk id="5129" creationId="{D3F3FDE1-EEE9-B262-2100-C2F415D514C6}"/>
          </ac:spMkLst>
        </pc:spChg>
        <pc:spChg chg="add del mod">
          <ac:chgData name="Liang Yang" userId="7a7c13a3-d26c-494d-9577-22c5c3f8a804" providerId="ADAL" clId="{B6DF2CCA-3EB3-48F4-8B86-B4169450C8DA}" dt="2024-06-26T15:00:00.131" v="3904" actId="947"/>
          <ac:spMkLst>
            <pc:docMk/>
            <pc:sldMk cId="2431246279" sldId="273"/>
            <ac:spMk id="5141" creationId="{059F212E-E3E6-66F4-6B6C-755A34A2BB12}"/>
          </ac:spMkLst>
        </pc:spChg>
        <pc:spChg chg="add del mod">
          <ac:chgData name="Liang Yang" userId="7a7c13a3-d26c-494d-9577-22c5c3f8a804" providerId="ADAL" clId="{B6DF2CCA-3EB3-48F4-8B86-B4169450C8DA}" dt="2024-06-26T15:00:00.136" v="3906" actId="947"/>
          <ac:spMkLst>
            <pc:docMk/>
            <pc:sldMk cId="2431246279" sldId="273"/>
            <ac:spMk id="5143" creationId="{106955D2-6369-19AF-EB6E-36EF2E41DF21}"/>
          </ac:spMkLst>
        </pc:spChg>
        <pc:grpChg chg="add del">
          <ac:chgData name="Liang Yang" userId="7a7c13a3-d26c-494d-9577-22c5c3f8a804" providerId="ADAL" clId="{B6DF2CCA-3EB3-48F4-8B86-B4169450C8DA}" dt="2024-06-26T05:48:51.593" v="2153" actId="478"/>
          <ac:grpSpMkLst>
            <pc:docMk/>
            <pc:sldMk cId="2431246279" sldId="273"/>
            <ac:grpSpMk id="20" creationId="{228127FD-CA51-CA2C-40E6-CCF312E866B1}"/>
          </ac:grpSpMkLst>
        </pc:grpChg>
        <pc:grpChg chg="add mod">
          <ac:chgData name="Liang Yang" userId="7a7c13a3-d26c-494d-9577-22c5c3f8a804" providerId="ADAL" clId="{B6DF2CCA-3EB3-48F4-8B86-B4169450C8DA}" dt="2024-06-26T14:46:05.722" v="3426" actId="164"/>
          <ac:grpSpMkLst>
            <pc:docMk/>
            <pc:sldMk cId="2431246279" sldId="273"/>
            <ac:grpSpMk id="56" creationId="{B8D9F320-4058-1E1D-C09E-C0E0C2020219}"/>
          </ac:grpSpMkLst>
        </pc:grpChg>
        <pc:grpChg chg="add mod">
          <ac:chgData name="Liang Yang" userId="7a7c13a3-d26c-494d-9577-22c5c3f8a804" providerId="ADAL" clId="{B6DF2CCA-3EB3-48F4-8B86-B4169450C8DA}" dt="2024-06-26T14:53:29.259" v="3575" actId="1035"/>
          <ac:grpSpMkLst>
            <pc:docMk/>
            <pc:sldMk cId="2431246279" sldId="273"/>
            <ac:grpSpMk id="57" creationId="{D6CCDBB1-71E0-A845-5592-EDECE467F9C7}"/>
          </ac:grpSpMkLst>
        </pc:grpChg>
        <pc:graphicFrameChg chg="mod">
          <ac:chgData name="Liang Yang" userId="7a7c13a3-d26c-494d-9577-22c5c3f8a804" providerId="ADAL" clId="{B6DF2CCA-3EB3-48F4-8B86-B4169450C8DA}" dt="2024-06-26T15:03:37.058" v="4018"/>
          <ac:graphicFrameMkLst>
            <pc:docMk/>
            <pc:sldMk cId="2431246279" sldId="273"/>
            <ac:graphicFrameMk id="4" creationId="{B0DF492E-9842-C18F-58FA-A416AC8482E4}"/>
          </ac:graphicFrameMkLst>
        </pc:graphicFrameChg>
        <pc:graphicFrameChg chg="add mod modGraphic">
          <ac:chgData name="Liang Yang" userId="7a7c13a3-d26c-494d-9577-22c5c3f8a804" providerId="ADAL" clId="{B6DF2CCA-3EB3-48F4-8B86-B4169450C8DA}" dt="2024-06-26T15:00:00.186" v="3936" actId="947"/>
          <ac:graphicFrameMkLst>
            <pc:docMk/>
            <pc:sldMk cId="2431246279" sldId="273"/>
            <ac:graphicFrameMk id="60" creationId="{08DAA5DF-6CAB-4F11-64C8-7E2DE3192239}"/>
          </ac:graphicFrameMkLst>
        </pc:graphicFrameChg>
        <pc:picChg chg="add mod">
          <ac:chgData name="Liang Yang" userId="7a7c13a3-d26c-494d-9577-22c5c3f8a804" providerId="ADAL" clId="{B6DF2CCA-3EB3-48F4-8B86-B4169450C8DA}" dt="2024-06-26T14:48:01.838" v="3437" actId="14100"/>
          <ac:picMkLst>
            <pc:docMk/>
            <pc:sldMk cId="2431246279" sldId="273"/>
            <ac:picMk id="15" creationId="{6EA5F0D9-F6BD-84AF-D0F9-E3E72ED956FD}"/>
          </ac:picMkLst>
        </pc:picChg>
        <pc:picChg chg="add del">
          <ac:chgData name="Liang Yang" userId="7a7c13a3-d26c-494d-9577-22c5c3f8a804" providerId="ADAL" clId="{B6DF2CCA-3EB3-48F4-8B86-B4169450C8DA}" dt="2024-06-26T05:48:51.593" v="2153" actId="478"/>
          <ac:picMkLst>
            <pc:docMk/>
            <pc:sldMk cId="2431246279" sldId="273"/>
            <ac:picMk id="26" creationId="{D8836F90-2EED-972B-116F-06CCF5B061E4}"/>
          </ac:picMkLst>
        </pc:picChg>
        <pc:picChg chg="add mod">
          <ac:chgData name="Liang Yang" userId="7a7c13a3-d26c-494d-9577-22c5c3f8a804" providerId="ADAL" clId="{B6DF2CCA-3EB3-48F4-8B86-B4169450C8DA}" dt="2024-06-26T19:25:19.839" v="11623" actId="1038"/>
          <ac:picMkLst>
            <pc:docMk/>
            <pc:sldMk cId="2431246279" sldId="273"/>
            <ac:picMk id="48" creationId="{155E8B44-B0CA-B472-9AD3-30D89481071F}"/>
          </ac:picMkLst>
        </pc:picChg>
        <pc:picChg chg="add mod">
          <ac:chgData name="Liang Yang" userId="7a7c13a3-d26c-494d-9577-22c5c3f8a804" providerId="ADAL" clId="{B6DF2CCA-3EB3-48F4-8B86-B4169450C8DA}" dt="2024-06-26T14:44:38.987" v="3329" actId="571"/>
          <ac:picMkLst>
            <pc:docMk/>
            <pc:sldMk cId="2431246279" sldId="273"/>
            <ac:picMk id="50" creationId="{3E9CB394-612C-FC6B-E504-FCBB6B192E67}"/>
          </ac:picMkLst>
        </pc:picChg>
        <pc:picChg chg="add mod">
          <ac:chgData name="Liang Yang" userId="7a7c13a3-d26c-494d-9577-22c5c3f8a804" providerId="ADAL" clId="{B6DF2CCA-3EB3-48F4-8B86-B4169450C8DA}" dt="2024-06-26T14:44:44.128" v="3331" actId="571"/>
          <ac:picMkLst>
            <pc:docMk/>
            <pc:sldMk cId="2431246279" sldId="273"/>
            <ac:picMk id="52" creationId="{06F79470-5DEF-B8E4-1046-B13C5F580C60}"/>
          </ac:picMkLst>
        </pc:picChg>
        <pc:cxnChg chg="add del">
          <ac:chgData name="Liang Yang" userId="7a7c13a3-d26c-494d-9577-22c5c3f8a804" providerId="ADAL" clId="{B6DF2CCA-3EB3-48F4-8B86-B4169450C8DA}" dt="2024-06-26T05:48:51.593" v="2153" actId="478"/>
          <ac:cxnSpMkLst>
            <pc:docMk/>
            <pc:sldMk cId="2431246279" sldId="273"/>
            <ac:cxnSpMk id="7" creationId="{12E9515B-2BD0-5AFA-8F41-0924F8AEF774}"/>
          </ac:cxnSpMkLst>
        </pc:cxnChg>
        <pc:cxnChg chg="add del">
          <ac:chgData name="Liang Yang" userId="7a7c13a3-d26c-494d-9577-22c5c3f8a804" providerId="ADAL" clId="{B6DF2CCA-3EB3-48F4-8B86-B4169450C8DA}" dt="2024-06-26T05:48:46.067" v="2152" actId="478"/>
          <ac:cxnSpMkLst>
            <pc:docMk/>
            <pc:sldMk cId="2431246279" sldId="273"/>
            <ac:cxnSpMk id="5142" creationId="{02C79E9C-BED6-5F9A-3AE7-1766E4619D4F}"/>
          </ac:cxnSpMkLst>
        </pc:cxnChg>
        <pc:cxnChg chg="add del">
          <ac:chgData name="Liang Yang" userId="7a7c13a3-d26c-494d-9577-22c5c3f8a804" providerId="ADAL" clId="{B6DF2CCA-3EB3-48F4-8B86-B4169450C8DA}" dt="2024-06-26T05:48:46.067" v="2152" actId="478"/>
          <ac:cxnSpMkLst>
            <pc:docMk/>
            <pc:sldMk cId="2431246279" sldId="273"/>
            <ac:cxnSpMk id="5144" creationId="{7E9B1341-014D-7EF4-C967-C81529918A62}"/>
          </ac:cxnSpMkLst>
        </pc:cxnChg>
      </pc:sldChg>
      <pc:sldChg chg="addSp delSp modSp mod modAnim addCm modCm modNotesTx">
        <pc:chgData name="Liang Yang" userId="7a7c13a3-d26c-494d-9577-22c5c3f8a804" providerId="ADAL" clId="{B6DF2CCA-3EB3-48F4-8B86-B4169450C8DA}" dt="2024-06-26T20:35:09.401" v="13967" actId="20577"/>
        <pc:sldMkLst>
          <pc:docMk/>
          <pc:sldMk cId="1488541577" sldId="274"/>
        </pc:sldMkLst>
        <pc:spChg chg="mod">
          <ac:chgData name="Liang Yang" userId="7a7c13a3-d26c-494d-9577-22c5c3f8a804" providerId="ADAL" clId="{B6DF2CCA-3EB3-48F4-8B86-B4169450C8DA}" dt="2024-06-26T16:13:31.319" v="5285" actId="948"/>
          <ac:spMkLst>
            <pc:docMk/>
            <pc:sldMk cId="1488541577" sldId="274"/>
            <ac:spMk id="2" creationId="{CBADF92F-4066-F747-AAEF-597A8340E927}"/>
          </ac:spMkLst>
        </pc:spChg>
        <pc:spChg chg="add del mod modVis">
          <ac:chgData name="Liang Yang" userId="7a7c13a3-d26c-494d-9577-22c5c3f8a804" providerId="ADAL" clId="{B6DF2CCA-3EB3-48F4-8B86-B4169450C8DA}" dt="2024-06-26T05:49:10.398" v="2199"/>
          <ac:spMkLst>
            <pc:docMk/>
            <pc:sldMk cId="1488541577" sldId="274"/>
            <ac:spMk id="3" creationId="{C118C8D2-E583-D3A1-71BF-36C0AB25F720}"/>
          </ac:spMkLst>
        </pc:spChg>
        <pc:spChg chg="add mod">
          <ac:chgData name="Liang Yang" userId="7a7c13a3-d26c-494d-9577-22c5c3f8a804" providerId="ADAL" clId="{B6DF2CCA-3EB3-48F4-8B86-B4169450C8DA}" dt="2024-06-26T18:03:44.602" v="8777" actId="478"/>
          <ac:spMkLst>
            <pc:docMk/>
            <pc:sldMk cId="1488541577" sldId="274"/>
            <ac:spMk id="5" creationId="{B304F09A-859E-8DCE-BB2E-D6D4EB39DD1C}"/>
          </ac:spMkLst>
        </pc:spChg>
        <pc:spChg chg="add del mod modVis">
          <ac:chgData name="Liang Yang" userId="7a7c13a3-d26c-494d-9577-22c5c3f8a804" providerId="ADAL" clId="{B6DF2CCA-3EB3-48F4-8B86-B4169450C8DA}" dt="2024-06-26T05:49:12.463" v="2237"/>
          <ac:spMkLst>
            <pc:docMk/>
            <pc:sldMk cId="1488541577" sldId="274"/>
            <ac:spMk id="5" creationId="{FF1321FC-82EE-5E4A-6731-7A03939A53C1}"/>
          </ac:spMkLst>
        </pc:spChg>
        <pc:spChg chg="add del mod modVis">
          <ac:chgData name="Liang Yang" userId="7a7c13a3-d26c-494d-9577-22c5c3f8a804" providerId="ADAL" clId="{B6DF2CCA-3EB3-48F4-8B86-B4169450C8DA}" dt="2024-06-26T05:49:14.525" v="2267"/>
          <ac:spMkLst>
            <pc:docMk/>
            <pc:sldMk cId="1488541577" sldId="274"/>
            <ac:spMk id="6" creationId="{5F1A9365-9FB8-E38B-2E75-D53D7DFE7599}"/>
          </ac:spMkLst>
        </pc:spChg>
        <pc:spChg chg="add del mod modVis">
          <ac:chgData name="Liang Yang" userId="7a7c13a3-d26c-494d-9577-22c5c3f8a804" providerId="ADAL" clId="{B6DF2CCA-3EB3-48F4-8B86-B4169450C8DA}" dt="2024-06-26T05:49:16.591" v="2305"/>
          <ac:spMkLst>
            <pc:docMk/>
            <pc:sldMk cId="1488541577" sldId="274"/>
            <ac:spMk id="7" creationId="{E0A028B7-0170-D7D2-EEEB-8550A892B797}"/>
          </ac:spMkLst>
        </pc:spChg>
        <pc:spChg chg="add del mod modVis">
          <ac:chgData name="Liang Yang" userId="7a7c13a3-d26c-494d-9577-22c5c3f8a804" providerId="ADAL" clId="{B6DF2CCA-3EB3-48F4-8B86-B4169450C8DA}" dt="2024-06-26T05:49:20.075" v="2346"/>
          <ac:spMkLst>
            <pc:docMk/>
            <pc:sldMk cId="1488541577" sldId="274"/>
            <ac:spMk id="8" creationId="{5248FE65-BC00-9079-09FC-74554A41BA82}"/>
          </ac:spMkLst>
        </pc:spChg>
        <pc:spChg chg="add del mod modVis">
          <ac:chgData name="Liang Yang" userId="7a7c13a3-d26c-494d-9577-22c5c3f8a804" providerId="ADAL" clId="{B6DF2CCA-3EB3-48F4-8B86-B4169450C8DA}" dt="2024-06-26T05:49:22.346" v="2376"/>
          <ac:spMkLst>
            <pc:docMk/>
            <pc:sldMk cId="1488541577" sldId="274"/>
            <ac:spMk id="9" creationId="{9977A0F6-5572-37C4-C4E8-A7542D6841AA}"/>
          </ac:spMkLst>
        </pc:spChg>
        <pc:spChg chg="add del mod modVis">
          <ac:chgData name="Liang Yang" userId="7a7c13a3-d26c-494d-9577-22c5c3f8a804" providerId="ADAL" clId="{B6DF2CCA-3EB3-48F4-8B86-B4169450C8DA}" dt="2024-06-26T05:49:24.381" v="2411"/>
          <ac:spMkLst>
            <pc:docMk/>
            <pc:sldMk cId="1488541577" sldId="274"/>
            <ac:spMk id="10" creationId="{ACC3C104-2077-3948-67ED-2E1B60666253}"/>
          </ac:spMkLst>
        </pc:spChg>
        <pc:spChg chg="add del mod modVis">
          <ac:chgData name="Liang Yang" userId="7a7c13a3-d26c-494d-9577-22c5c3f8a804" providerId="ADAL" clId="{B6DF2CCA-3EB3-48F4-8B86-B4169450C8DA}" dt="2024-06-26T05:49:27.242" v="2449"/>
          <ac:spMkLst>
            <pc:docMk/>
            <pc:sldMk cId="1488541577" sldId="274"/>
            <ac:spMk id="11" creationId="{F8D1AB96-5DC0-C4C0-E2C5-421A76AF3AE0}"/>
          </ac:spMkLst>
        </pc:spChg>
        <pc:spChg chg="add del mod modVis">
          <ac:chgData name="Liang Yang" userId="7a7c13a3-d26c-494d-9577-22c5c3f8a804" providerId="ADAL" clId="{B6DF2CCA-3EB3-48F4-8B86-B4169450C8DA}" dt="2024-06-26T05:49:29.306" v="2486"/>
          <ac:spMkLst>
            <pc:docMk/>
            <pc:sldMk cId="1488541577" sldId="274"/>
            <ac:spMk id="12" creationId="{2809C5C5-B8FA-CDC1-8316-C2A684DE9797}"/>
          </ac:spMkLst>
        </pc:spChg>
        <pc:spChg chg="add del mod modVis">
          <ac:chgData name="Liang Yang" userId="7a7c13a3-d26c-494d-9577-22c5c3f8a804" providerId="ADAL" clId="{B6DF2CCA-3EB3-48F4-8B86-B4169450C8DA}" dt="2024-06-26T05:49:30.480" v="2519"/>
          <ac:spMkLst>
            <pc:docMk/>
            <pc:sldMk cId="1488541577" sldId="274"/>
            <ac:spMk id="13" creationId="{4F20325A-22F3-B760-6F31-2B6B3AECC721}"/>
          </ac:spMkLst>
        </pc:spChg>
        <pc:spChg chg="add del mod modVis">
          <ac:chgData name="Liang Yang" userId="7a7c13a3-d26c-494d-9577-22c5c3f8a804" providerId="ADAL" clId="{B6DF2CCA-3EB3-48F4-8B86-B4169450C8DA}" dt="2024-06-26T05:49:31.519" v="2550"/>
          <ac:spMkLst>
            <pc:docMk/>
            <pc:sldMk cId="1488541577" sldId="274"/>
            <ac:spMk id="14" creationId="{C319F2D1-C51B-1785-FD8C-BE7D778926D5}"/>
          </ac:spMkLst>
        </pc:spChg>
        <pc:spChg chg="add del mod modVis">
          <ac:chgData name="Liang Yang" userId="7a7c13a3-d26c-494d-9577-22c5c3f8a804" providerId="ADAL" clId="{B6DF2CCA-3EB3-48F4-8B86-B4169450C8DA}" dt="2024-06-26T05:49:34.880" v="2595"/>
          <ac:spMkLst>
            <pc:docMk/>
            <pc:sldMk cId="1488541577" sldId="274"/>
            <ac:spMk id="15" creationId="{112B57EC-BD00-DE81-55CA-9612A4BB0645}"/>
          </ac:spMkLst>
        </pc:spChg>
        <pc:spChg chg="add del mod modVis">
          <ac:chgData name="Liang Yang" userId="7a7c13a3-d26c-494d-9577-22c5c3f8a804" providerId="ADAL" clId="{B6DF2CCA-3EB3-48F4-8B86-B4169450C8DA}" dt="2024-06-26T05:49:36.319" v="2629"/>
          <ac:spMkLst>
            <pc:docMk/>
            <pc:sldMk cId="1488541577" sldId="274"/>
            <ac:spMk id="16" creationId="{345EC2E2-DFF3-51FE-5CD5-ADEEC5F78C8A}"/>
          </ac:spMkLst>
        </pc:spChg>
        <pc:spChg chg="add del mod modVis">
          <ac:chgData name="Liang Yang" userId="7a7c13a3-d26c-494d-9577-22c5c3f8a804" providerId="ADAL" clId="{B6DF2CCA-3EB3-48F4-8B86-B4169450C8DA}" dt="2024-06-26T05:49:37.180" v="2659"/>
          <ac:spMkLst>
            <pc:docMk/>
            <pc:sldMk cId="1488541577" sldId="274"/>
            <ac:spMk id="17" creationId="{76799CC3-54C7-9973-802D-BBBC9D819A2E}"/>
          </ac:spMkLst>
        </pc:spChg>
        <pc:spChg chg="mod">
          <ac:chgData name="Liang Yang" userId="7a7c13a3-d26c-494d-9577-22c5c3f8a804" providerId="ADAL" clId="{B6DF2CCA-3EB3-48F4-8B86-B4169450C8DA}" dt="2024-06-26T18:07:53.172" v="8843" actId="554"/>
          <ac:spMkLst>
            <pc:docMk/>
            <pc:sldMk cId="1488541577" sldId="274"/>
            <ac:spMk id="18" creationId="{E31656E0-C7CD-FF1B-A41B-5B90AB47897A}"/>
          </ac:spMkLst>
        </pc:spChg>
        <pc:spChg chg="add del mod modVis">
          <ac:chgData name="Liang Yang" userId="7a7c13a3-d26c-494d-9577-22c5c3f8a804" providerId="ADAL" clId="{B6DF2CCA-3EB3-48F4-8B86-B4169450C8DA}" dt="2024-06-26T05:49:38.290" v="2689"/>
          <ac:spMkLst>
            <pc:docMk/>
            <pc:sldMk cId="1488541577" sldId="274"/>
            <ac:spMk id="19" creationId="{1F47A2F8-82E1-565D-990E-4B76615E17F2}"/>
          </ac:spMkLst>
        </pc:spChg>
        <pc:spChg chg="add del mod modVis">
          <ac:chgData name="Liang Yang" userId="7a7c13a3-d26c-494d-9577-22c5c3f8a804" providerId="ADAL" clId="{B6DF2CCA-3EB3-48F4-8B86-B4169450C8DA}" dt="2024-06-26T05:49:39.751" v="2724"/>
          <ac:spMkLst>
            <pc:docMk/>
            <pc:sldMk cId="1488541577" sldId="274"/>
            <ac:spMk id="20" creationId="{A783F3F5-5AF2-391C-A43D-92D033CFC7BE}"/>
          </ac:spMkLst>
        </pc:spChg>
        <pc:spChg chg="add del mod modVis">
          <ac:chgData name="Liang Yang" userId="7a7c13a3-d26c-494d-9577-22c5c3f8a804" providerId="ADAL" clId="{B6DF2CCA-3EB3-48F4-8B86-B4169450C8DA}" dt="2024-06-26T05:49:40.710" v="2754"/>
          <ac:spMkLst>
            <pc:docMk/>
            <pc:sldMk cId="1488541577" sldId="274"/>
            <ac:spMk id="21" creationId="{2B31752A-C57A-24EF-E5EC-F299BF1FF6AF}"/>
          </ac:spMkLst>
        </pc:spChg>
        <pc:spChg chg="add del mod modVis">
          <ac:chgData name="Liang Yang" userId="7a7c13a3-d26c-494d-9577-22c5c3f8a804" providerId="ADAL" clId="{B6DF2CCA-3EB3-48F4-8B86-B4169450C8DA}" dt="2024-06-26T05:49:42.587" v="2789"/>
          <ac:spMkLst>
            <pc:docMk/>
            <pc:sldMk cId="1488541577" sldId="274"/>
            <ac:spMk id="22" creationId="{D1F90286-F430-5C0D-DD2C-E6EB3272688B}"/>
          </ac:spMkLst>
        </pc:spChg>
        <pc:spChg chg="add del mod modVis">
          <ac:chgData name="Liang Yang" userId="7a7c13a3-d26c-494d-9577-22c5c3f8a804" providerId="ADAL" clId="{B6DF2CCA-3EB3-48F4-8B86-B4169450C8DA}" dt="2024-06-26T05:49:49.931" v="2823"/>
          <ac:spMkLst>
            <pc:docMk/>
            <pc:sldMk cId="1488541577" sldId="274"/>
            <ac:spMk id="23" creationId="{42691F92-B92E-ECBE-87BD-649ACEAAF02B}"/>
          </ac:spMkLst>
        </pc:spChg>
        <pc:spChg chg="add del mod modVis">
          <ac:chgData name="Liang Yang" userId="7a7c13a3-d26c-494d-9577-22c5c3f8a804" providerId="ADAL" clId="{B6DF2CCA-3EB3-48F4-8B86-B4169450C8DA}" dt="2024-06-26T05:49:54.749" v="2856"/>
          <ac:spMkLst>
            <pc:docMk/>
            <pc:sldMk cId="1488541577" sldId="274"/>
            <ac:spMk id="24" creationId="{593277A3-F6DB-7823-CE0E-11F6C904767B}"/>
          </ac:spMkLst>
        </pc:spChg>
        <pc:spChg chg="add del mod modVis">
          <ac:chgData name="Liang Yang" userId="7a7c13a3-d26c-494d-9577-22c5c3f8a804" providerId="ADAL" clId="{B6DF2CCA-3EB3-48F4-8B86-B4169450C8DA}" dt="2024-06-26T05:49:57.231" v="2884"/>
          <ac:spMkLst>
            <pc:docMk/>
            <pc:sldMk cId="1488541577" sldId="274"/>
            <ac:spMk id="25" creationId="{36BF5838-436C-3BED-F547-154D56BF684C}"/>
          </ac:spMkLst>
        </pc:spChg>
        <pc:spChg chg="add mod">
          <ac:chgData name="Liang Yang" userId="7a7c13a3-d26c-494d-9577-22c5c3f8a804" providerId="ADAL" clId="{B6DF2CCA-3EB3-48F4-8B86-B4169450C8DA}" dt="2024-06-26T18:07:53.172" v="8843" actId="554"/>
          <ac:spMkLst>
            <pc:docMk/>
            <pc:sldMk cId="1488541577" sldId="274"/>
            <ac:spMk id="27" creationId="{EBEA4F80-F09B-5865-193B-BD0D2109E6BE}"/>
          </ac:spMkLst>
        </pc:spChg>
        <pc:spChg chg="del">
          <ac:chgData name="Liang Yang" userId="7a7c13a3-d26c-494d-9577-22c5c3f8a804" providerId="ADAL" clId="{B6DF2CCA-3EB3-48F4-8B86-B4169450C8DA}" dt="2024-06-26T15:14:11.579" v="4053" actId="478"/>
          <ac:spMkLst>
            <pc:docMk/>
            <pc:sldMk cId="1488541577" sldId="274"/>
            <ac:spMk id="29" creationId="{89EFDF4B-8300-04DE-9D46-DAD359C696FB}"/>
          </ac:spMkLst>
        </pc:spChg>
        <pc:spChg chg="add del mod modVis">
          <ac:chgData name="Liang Yang" userId="7a7c13a3-d26c-494d-9577-22c5c3f8a804" providerId="ADAL" clId="{B6DF2CCA-3EB3-48F4-8B86-B4169450C8DA}" dt="2024-06-26T16:08:54.121" v="4273"/>
          <ac:spMkLst>
            <pc:docMk/>
            <pc:sldMk cId="1488541577" sldId="274"/>
            <ac:spMk id="30" creationId="{B2DA6C68-4CA9-DE8C-47BF-134E31B989C8}"/>
          </ac:spMkLst>
        </pc:spChg>
        <pc:spChg chg="mod">
          <ac:chgData name="Liang Yang" userId="7a7c13a3-d26c-494d-9577-22c5c3f8a804" providerId="ADAL" clId="{B6DF2CCA-3EB3-48F4-8B86-B4169450C8DA}" dt="2024-06-26T15:14:33.645" v="4070" actId="20577"/>
          <ac:spMkLst>
            <pc:docMk/>
            <pc:sldMk cId="1488541577" sldId="274"/>
            <ac:spMk id="31" creationId="{C0CCCC13-8660-7BAC-F34B-2A11C3C849C1}"/>
          </ac:spMkLst>
        </pc:spChg>
        <pc:spChg chg="mod">
          <ac:chgData name="Liang Yang" userId="7a7c13a3-d26c-494d-9577-22c5c3f8a804" providerId="ADAL" clId="{B6DF2CCA-3EB3-48F4-8B86-B4169450C8DA}" dt="2024-06-26T15:14:41.095" v="4087" actId="20577"/>
          <ac:spMkLst>
            <pc:docMk/>
            <pc:sldMk cId="1488541577" sldId="274"/>
            <ac:spMk id="32" creationId="{C803919E-B0AD-DBFB-3FB6-BA3ADAC4891D}"/>
          </ac:spMkLst>
        </pc:spChg>
        <pc:spChg chg="add del mod modVis">
          <ac:chgData name="Liang Yang" userId="7a7c13a3-d26c-494d-9577-22c5c3f8a804" providerId="ADAL" clId="{B6DF2CCA-3EB3-48F4-8B86-B4169450C8DA}" dt="2024-06-26T16:08:54.829" v="4303"/>
          <ac:spMkLst>
            <pc:docMk/>
            <pc:sldMk cId="1488541577" sldId="274"/>
            <ac:spMk id="33" creationId="{89589E15-286E-6235-F392-ED5F825794E7}"/>
          </ac:spMkLst>
        </pc:spChg>
        <pc:spChg chg="add del mod modVis">
          <ac:chgData name="Liang Yang" userId="7a7c13a3-d26c-494d-9577-22c5c3f8a804" providerId="ADAL" clId="{B6DF2CCA-3EB3-48F4-8B86-B4169450C8DA}" dt="2024-06-26T16:08:56.024" v="4334"/>
          <ac:spMkLst>
            <pc:docMk/>
            <pc:sldMk cId="1488541577" sldId="274"/>
            <ac:spMk id="34" creationId="{7136C24B-BBEC-E87B-6A53-BF54FD26F514}"/>
          </ac:spMkLst>
        </pc:spChg>
        <pc:spChg chg="add del mod modVis">
          <ac:chgData name="Liang Yang" userId="7a7c13a3-d26c-494d-9577-22c5c3f8a804" providerId="ADAL" clId="{B6DF2CCA-3EB3-48F4-8B86-B4169450C8DA}" dt="2024-06-26T16:09:02.670" v="4362"/>
          <ac:spMkLst>
            <pc:docMk/>
            <pc:sldMk cId="1488541577" sldId="274"/>
            <ac:spMk id="35" creationId="{63825F61-7EA2-A3A1-BCBD-8FB866612C3B}"/>
          </ac:spMkLst>
        </pc:spChg>
        <pc:spChg chg="add del mod modVis">
          <ac:chgData name="Liang Yang" userId="7a7c13a3-d26c-494d-9577-22c5c3f8a804" providerId="ADAL" clId="{B6DF2CCA-3EB3-48F4-8B86-B4169450C8DA}" dt="2024-06-26T16:11:52.894" v="4394"/>
          <ac:spMkLst>
            <pc:docMk/>
            <pc:sldMk cId="1488541577" sldId="274"/>
            <ac:spMk id="36" creationId="{0C869560-1335-BF88-FF50-AE33393E5445}"/>
          </ac:spMkLst>
        </pc:spChg>
        <pc:spChg chg="add del mod modVis">
          <ac:chgData name="Liang Yang" userId="7a7c13a3-d26c-494d-9577-22c5c3f8a804" providerId="ADAL" clId="{B6DF2CCA-3EB3-48F4-8B86-B4169450C8DA}" dt="2024-06-26T16:11:54.231" v="4429"/>
          <ac:spMkLst>
            <pc:docMk/>
            <pc:sldMk cId="1488541577" sldId="274"/>
            <ac:spMk id="37" creationId="{73C4258D-BE86-D97B-EA7B-0EED929AD922}"/>
          </ac:spMkLst>
        </pc:spChg>
        <pc:spChg chg="del">
          <ac:chgData name="Liang Yang" userId="7a7c13a3-d26c-494d-9577-22c5c3f8a804" providerId="ADAL" clId="{B6DF2CCA-3EB3-48F4-8B86-B4169450C8DA}" dt="2024-06-26T18:03:44.602" v="8777" actId="478"/>
          <ac:spMkLst>
            <pc:docMk/>
            <pc:sldMk cId="1488541577" sldId="274"/>
            <ac:spMk id="38" creationId="{63211A1B-4929-FEE4-C162-818C781E9621}"/>
          </ac:spMkLst>
        </pc:spChg>
        <pc:spChg chg="add del mod modVis">
          <ac:chgData name="Liang Yang" userId="7a7c13a3-d26c-494d-9577-22c5c3f8a804" providerId="ADAL" clId="{B6DF2CCA-3EB3-48F4-8B86-B4169450C8DA}" dt="2024-06-26T16:12:05.796" v="4459"/>
          <ac:spMkLst>
            <pc:docMk/>
            <pc:sldMk cId="1488541577" sldId="274"/>
            <ac:spMk id="39" creationId="{E877F019-AC32-9297-07FE-0D590A549C1B}"/>
          </ac:spMkLst>
        </pc:spChg>
        <pc:spChg chg="add del mod modVis">
          <ac:chgData name="Liang Yang" userId="7a7c13a3-d26c-494d-9577-22c5c3f8a804" providerId="ADAL" clId="{B6DF2CCA-3EB3-48F4-8B86-B4169450C8DA}" dt="2024-06-26T16:12:09.965" v="4503"/>
          <ac:spMkLst>
            <pc:docMk/>
            <pc:sldMk cId="1488541577" sldId="274"/>
            <ac:spMk id="40" creationId="{AA5D2265-D709-4C9C-A3A8-F7F3A5AB826D}"/>
          </ac:spMkLst>
        </pc:spChg>
        <pc:spChg chg="add del mod modVis">
          <ac:chgData name="Liang Yang" userId="7a7c13a3-d26c-494d-9577-22c5c3f8a804" providerId="ADAL" clId="{B6DF2CCA-3EB3-48F4-8B86-B4169450C8DA}" dt="2024-06-26T16:12:13.536" v="4541"/>
          <ac:spMkLst>
            <pc:docMk/>
            <pc:sldMk cId="1488541577" sldId="274"/>
            <ac:spMk id="41" creationId="{8F0BBB2D-F223-CB32-59FD-1AB0E24AC509}"/>
          </ac:spMkLst>
        </pc:spChg>
        <pc:spChg chg="add del mod modVis">
          <ac:chgData name="Liang Yang" userId="7a7c13a3-d26c-494d-9577-22c5c3f8a804" providerId="ADAL" clId="{B6DF2CCA-3EB3-48F4-8B86-B4169450C8DA}" dt="2024-06-26T16:12:18.240" v="4581"/>
          <ac:spMkLst>
            <pc:docMk/>
            <pc:sldMk cId="1488541577" sldId="274"/>
            <ac:spMk id="42" creationId="{C28AA917-7297-D4AA-6A07-F6C30421A861}"/>
          </ac:spMkLst>
        </pc:spChg>
        <pc:spChg chg="add del mod modVis">
          <ac:chgData name="Liang Yang" userId="7a7c13a3-d26c-494d-9577-22c5c3f8a804" providerId="ADAL" clId="{B6DF2CCA-3EB3-48F4-8B86-B4169450C8DA}" dt="2024-06-26T16:12:24.278" v="4609"/>
          <ac:spMkLst>
            <pc:docMk/>
            <pc:sldMk cId="1488541577" sldId="274"/>
            <ac:spMk id="43" creationId="{8AE02433-428F-15ED-E58D-CC3CC03A690C}"/>
          </ac:spMkLst>
        </pc:spChg>
        <pc:spChg chg="add del mod modVis">
          <ac:chgData name="Liang Yang" userId="7a7c13a3-d26c-494d-9577-22c5c3f8a804" providerId="ADAL" clId="{B6DF2CCA-3EB3-48F4-8B86-B4169450C8DA}" dt="2024-06-26T16:12:26.958" v="4649"/>
          <ac:spMkLst>
            <pc:docMk/>
            <pc:sldMk cId="1488541577" sldId="274"/>
            <ac:spMk id="44" creationId="{7881F29C-BCE0-9AFD-2B51-3A8CAC1A3107}"/>
          </ac:spMkLst>
        </pc:spChg>
        <pc:spChg chg="add del mod modVis">
          <ac:chgData name="Liang Yang" userId="7a7c13a3-d26c-494d-9577-22c5c3f8a804" providerId="ADAL" clId="{B6DF2CCA-3EB3-48F4-8B86-B4169450C8DA}" dt="2024-06-26T16:12:28.171" v="4678"/>
          <ac:spMkLst>
            <pc:docMk/>
            <pc:sldMk cId="1488541577" sldId="274"/>
            <ac:spMk id="45" creationId="{7EC9C21A-27C0-B623-4A78-6ADE67F67276}"/>
          </ac:spMkLst>
        </pc:spChg>
        <pc:spChg chg="add del mod modVis">
          <ac:chgData name="Liang Yang" userId="7a7c13a3-d26c-494d-9577-22c5c3f8a804" providerId="ADAL" clId="{B6DF2CCA-3EB3-48F4-8B86-B4169450C8DA}" dt="2024-06-26T16:12:31.740" v="4724"/>
          <ac:spMkLst>
            <pc:docMk/>
            <pc:sldMk cId="1488541577" sldId="274"/>
            <ac:spMk id="46" creationId="{3550B8F3-0B66-E625-C617-3F8C301B833E}"/>
          </ac:spMkLst>
        </pc:spChg>
        <pc:spChg chg="add del mod modVis">
          <ac:chgData name="Liang Yang" userId="7a7c13a3-d26c-494d-9577-22c5c3f8a804" providerId="ADAL" clId="{B6DF2CCA-3EB3-48F4-8B86-B4169450C8DA}" dt="2024-06-26T16:12:34.345" v="4754"/>
          <ac:spMkLst>
            <pc:docMk/>
            <pc:sldMk cId="1488541577" sldId="274"/>
            <ac:spMk id="47" creationId="{22D01ED7-68A2-C847-A4A2-947241B5B1DA}"/>
          </ac:spMkLst>
        </pc:spChg>
        <pc:spChg chg="add del mod modVis">
          <ac:chgData name="Liang Yang" userId="7a7c13a3-d26c-494d-9577-22c5c3f8a804" providerId="ADAL" clId="{B6DF2CCA-3EB3-48F4-8B86-B4169450C8DA}" dt="2024-06-26T16:12:37.265" v="4795"/>
          <ac:spMkLst>
            <pc:docMk/>
            <pc:sldMk cId="1488541577" sldId="274"/>
            <ac:spMk id="48" creationId="{89D22DBB-6926-1D39-4512-69648DA6AAD0}"/>
          </ac:spMkLst>
        </pc:spChg>
        <pc:spChg chg="add del mod modVis">
          <ac:chgData name="Liang Yang" userId="7a7c13a3-d26c-494d-9577-22c5c3f8a804" providerId="ADAL" clId="{B6DF2CCA-3EB3-48F4-8B86-B4169450C8DA}" dt="2024-06-26T16:12:38.154" v="4825"/>
          <ac:spMkLst>
            <pc:docMk/>
            <pc:sldMk cId="1488541577" sldId="274"/>
            <ac:spMk id="49" creationId="{74E9CADB-E24D-A967-8AE2-3E5B3EF9FC4C}"/>
          </ac:spMkLst>
        </pc:spChg>
        <pc:spChg chg="add del mod modVis">
          <ac:chgData name="Liang Yang" userId="7a7c13a3-d26c-494d-9577-22c5c3f8a804" providerId="ADAL" clId="{B6DF2CCA-3EB3-48F4-8B86-B4169450C8DA}" dt="2024-06-26T16:12:40.001" v="4860"/>
          <ac:spMkLst>
            <pc:docMk/>
            <pc:sldMk cId="1488541577" sldId="274"/>
            <ac:spMk id="50" creationId="{4FD50278-0B80-3992-010E-9B0E725B3071}"/>
          </ac:spMkLst>
        </pc:spChg>
        <pc:spChg chg="add del mod modVis">
          <ac:chgData name="Liang Yang" userId="7a7c13a3-d26c-494d-9577-22c5c3f8a804" providerId="ADAL" clId="{B6DF2CCA-3EB3-48F4-8B86-B4169450C8DA}" dt="2024-06-26T16:12:46.392" v="4888"/>
          <ac:spMkLst>
            <pc:docMk/>
            <pc:sldMk cId="1488541577" sldId="274"/>
            <ac:spMk id="51" creationId="{D54386BE-49BE-FD1C-1787-9F0E9A67FFB1}"/>
          </ac:spMkLst>
        </pc:spChg>
        <pc:spChg chg="add del mod modVis">
          <ac:chgData name="Liang Yang" userId="7a7c13a3-d26c-494d-9577-22c5c3f8a804" providerId="ADAL" clId="{B6DF2CCA-3EB3-48F4-8B86-B4169450C8DA}" dt="2024-06-26T16:12:47.509" v="4919"/>
          <ac:spMkLst>
            <pc:docMk/>
            <pc:sldMk cId="1488541577" sldId="274"/>
            <ac:spMk id="52" creationId="{9C0123D6-F622-1DA1-B15D-F9F0BA31EE2F}"/>
          </ac:spMkLst>
        </pc:spChg>
        <pc:spChg chg="add del mod modVis">
          <ac:chgData name="Liang Yang" userId="7a7c13a3-d26c-494d-9577-22c5c3f8a804" providerId="ADAL" clId="{B6DF2CCA-3EB3-48F4-8B86-B4169450C8DA}" dt="2024-06-26T16:12:48.864" v="4951"/>
          <ac:spMkLst>
            <pc:docMk/>
            <pc:sldMk cId="1488541577" sldId="274"/>
            <ac:spMk id="53" creationId="{7FDACCC0-80C8-4F19-090F-DAFFA2EB6F88}"/>
          </ac:spMkLst>
        </pc:spChg>
        <pc:spChg chg="add del mod modVis">
          <ac:chgData name="Liang Yang" userId="7a7c13a3-d26c-494d-9577-22c5c3f8a804" providerId="ADAL" clId="{B6DF2CCA-3EB3-48F4-8B86-B4169450C8DA}" dt="2024-06-26T16:12:52.515" v="4989"/>
          <ac:spMkLst>
            <pc:docMk/>
            <pc:sldMk cId="1488541577" sldId="274"/>
            <ac:spMk id="54" creationId="{238FB93E-F581-F963-7D13-F2D8FFEBB1BA}"/>
          </ac:spMkLst>
        </pc:spChg>
        <pc:spChg chg="add del mod modVis">
          <ac:chgData name="Liang Yang" userId="7a7c13a3-d26c-494d-9577-22c5c3f8a804" providerId="ADAL" clId="{B6DF2CCA-3EB3-48F4-8B86-B4169450C8DA}" dt="2024-06-26T16:12:54.970" v="5028"/>
          <ac:spMkLst>
            <pc:docMk/>
            <pc:sldMk cId="1488541577" sldId="274"/>
            <ac:spMk id="55" creationId="{3D9A1222-7904-167B-1C49-0E2C534F2198}"/>
          </ac:spMkLst>
        </pc:spChg>
        <pc:spChg chg="add del mod modVis">
          <ac:chgData name="Liang Yang" userId="7a7c13a3-d26c-494d-9577-22c5c3f8a804" providerId="ADAL" clId="{B6DF2CCA-3EB3-48F4-8B86-B4169450C8DA}" dt="2024-06-26T16:12:55.505" v="5057"/>
          <ac:spMkLst>
            <pc:docMk/>
            <pc:sldMk cId="1488541577" sldId="274"/>
            <ac:spMk id="56" creationId="{93726CB7-B6FD-5866-57BA-279C239FC61E}"/>
          </ac:spMkLst>
        </pc:spChg>
        <pc:spChg chg="add del mod modVis">
          <ac:chgData name="Liang Yang" userId="7a7c13a3-d26c-494d-9577-22c5c3f8a804" providerId="ADAL" clId="{B6DF2CCA-3EB3-48F4-8B86-B4169450C8DA}" dt="2024-06-26T16:12:59.235" v="5111"/>
          <ac:spMkLst>
            <pc:docMk/>
            <pc:sldMk cId="1488541577" sldId="274"/>
            <ac:spMk id="57" creationId="{3EDC0B30-A7E6-D8DC-8F56-832C5DDCE910}"/>
          </ac:spMkLst>
        </pc:spChg>
        <pc:spChg chg="add del mod modVis">
          <ac:chgData name="Liang Yang" userId="7a7c13a3-d26c-494d-9577-22c5c3f8a804" providerId="ADAL" clId="{B6DF2CCA-3EB3-48F4-8B86-B4169450C8DA}" dt="2024-06-26T16:13:17.974" v="5148"/>
          <ac:spMkLst>
            <pc:docMk/>
            <pc:sldMk cId="1488541577" sldId="274"/>
            <ac:spMk id="58" creationId="{B395C95A-C93D-F825-3AE0-A88D9BD43E0A}"/>
          </ac:spMkLst>
        </pc:spChg>
        <pc:spChg chg="add del mod modVis">
          <ac:chgData name="Liang Yang" userId="7a7c13a3-d26c-494d-9577-22c5c3f8a804" providerId="ADAL" clId="{B6DF2CCA-3EB3-48F4-8B86-B4169450C8DA}" dt="2024-06-26T16:13:24.383" v="5182"/>
          <ac:spMkLst>
            <pc:docMk/>
            <pc:sldMk cId="1488541577" sldId="274"/>
            <ac:spMk id="59" creationId="{3B0D6B90-7E41-F423-5C4D-49BB9C0DD172}"/>
          </ac:spMkLst>
        </pc:spChg>
        <pc:spChg chg="add del mod modVis">
          <ac:chgData name="Liang Yang" userId="7a7c13a3-d26c-494d-9577-22c5c3f8a804" providerId="ADAL" clId="{B6DF2CCA-3EB3-48F4-8B86-B4169450C8DA}" dt="2024-06-26T16:13:24.633" v="5210"/>
          <ac:spMkLst>
            <pc:docMk/>
            <pc:sldMk cId="1488541577" sldId="274"/>
            <ac:spMk id="60" creationId="{A689A65D-A0AB-A8E9-900F-6DB128F64DE6}"/>
          </ac:spMkLst>
        </pc:spChg>
        <pc:spChg chg="add del mod modVis">
          <ac:chgData name="Liang Yang" userId="7a7c13a3-d26c-494d-9577-22c5c3f8a804" providerId="ADAL" clId="{B6DF2CCA-3EB3-48F4-8B86-B4169450C8DA}" dt="2024-06-26T16:13:25.827" v="5244"/>
          <ac:spMkLst>
            <pc:docMk/>
            <pc:sldMk cId="1488541577" sldId="274"/>
            <ac:spMk id="61" creationId="{89184EB8-8901-57AE-162D-AE3E02395E6A}"/>
          </ac:spMkLst>
        </pc:spChg>
        <pc:spChg chg="add del mod modVis">
          <ac:chgData name="Liang Yang" userId="7a7c13a3-d26c-494d-9577-22c5c3f8a804" providerId="ADAL" clId="{B6DF2CCA-3EB3-48F4-8B86-B4169450C8DA}" dt="2024-06-26T16:13:30.233" v="5276"/>
          <ac:spMkLst>
            <pc:docMk/>
            <pc:sldMk cId="1488541577" sldId="274"/>
            <ac:spMk id="62" creationId="{62810269-13DB-E3A1-3665-5C06B6142068}"/>
          </ac:spMkLst>
        </pc:spChg>
        <pc:spChg chg="add del mod modVis">
          <ac:chgData name="Liang Yang" userId="7a7c13a3-d26c-494d-9577-22c5c3f8a804" providerId="ADAL" clId="{B6DF2CCA-3EB3-48F4-8B86-B4169450C8DA}" dt="2024-06-26T16:13:31.350" v="5309"/>
          <ac:spMkLst>
            <pc:docMk/>
            <pc:sldMk cId="1488541577" sldId="274"/>
            <ac:spMk id="63" creationId="{53F7418E-0C61-6F09-3802-6225163FA583}"/>
          </ac:spMkLst>
        </pc:spChg>
        <pc:graphicFrameChg chg="mod">
          <ac:chgData name="Liang Yang" userId="7a7c13a3-d26c-494d-9577-22c5c3f8a804" providerId="ADAL" clId="{B6DF2CCA-3EB3-48F4-8B86-B4169450C8DA}" dt="2024-06-26T16:13:31.350" v="5311"/>
          <ac:graphicFrameMkLst>
            <pc:docMk/>
            <pc:sldMk cId="1488541577" sldId="274"/>
            <ac:graphicFrameMk id="4" creationId="{B0DF492E-9842-C18F-58FA-A416AC8482E4}"/>
          </ac:graphicFrameMkLst>
        </pc:graphicFrameChg>
        <pc:graphicFrameChg chg="del">
          <ac:chgData name="Liang Yang" userId="7a7c13a3-d26c-494d-9577-22c5c3f8a804" providerId="ADAL" clId="{B6DF2CCA-3EB3-48F4-8B86-B4169450C8DA}" dt="2024-06-26T15:14:09.739" v="4052" actId="478"/>
          <ac:graphicFrameMkLst>
            <pc:docMk/>
            <pc:sldMk cId="1488541577" sldId="274"/>
            <ac:graphicFrameMk id="28" creationId="{AF177080-8D81-EF24-C6B3-7F66391B8ACD}"/>
          </ac:graphicFrameMkLst>
        </pc:graphicFrameChg>
        <pc:picChg chg="add mod">
          <ac:chgData name="Liang Yang" userId="7a7c13a3-d26c-494d-9577-22c5c3f8a804" providerId="ADAL" clId="{B6DF2CCA-3EB3-48F4-8B86-B4169450C8DA}" dt="2024-06-26T19:46:35.522" v="12537" actId="1038"/>
          <ac:picMkLst>
            <pc:docMk/>
            <pc:sldMk cId="1488541577" sldId="274"/>
            <ac:picMk id="1026" creationId="{19E844DF-D149-EC5F-BD42-9E7333A85E9C}"/>
          </ac:picMkLst>
        </pc:picChg>
        <pc:picChg chg="mod">
          <ac:chgData name="Liang Yang" userId="7a7c13a3-d26c-494d-9577-22c5c3f8a804" providerId="ADAL" clId="{B6DF2CCA-3EB3-48F4-8B86-B4169450C8DA}" dt="2024-06-26T19:46:26.881" v="12533" actId="1076"/>
          <ac:picMkLst>
            <pc:docMk/>
            <pc:sldMk cId="1488541577" sldId="274"/>
            <ac:picMk id="6148" creationId="{2C3EFCA0-B059-6179-3F4C-2362C3AFA2A7}"/>
          </ac:picMkLst>
        </pc:picChg>
        <pc:picChg chg="mod">
          <ac:chgData name="Liang Yang" userId="7a7c13a3-d26c-494d-9577-22c5c3f8a804" providerId="ADAL" clId="{B6DF2CCA-3EB3-48F4-8B86-B4169450C8DA}" dt="2024-06-26T15:14:48.895" v="4089" actId="1076"/>
          <ac:picMkLst>
            <pc:docMk/>
            <pc:sldMk cId="1488541577" sldId="274"/>
            <ac:picMk id="6150" creationId="{B28010BA-AC62-09C7-DF57-8191F0977246}"/>
          </ac:picMkLst>
        </pc:picChg>
        <pc:extLst>
          <p:ext xmlns:p="http://schemas.openxmlformats.org/presentationml/2006/main" uri="{D6D511B9-2390-475A-947B-AFAB55BFBCF1}">
            <pc226:cmChg xmlns:pc226="http://schemas.microsoft.com/office/powerpoint/2022/06/main/command" chg="add mod">
              <pc226:chgData name="Liang Yang" userId="7a7c13a3-d26c-494d-9577-22c5c3f8a804" providerId="ADAL" clId="{B6DF2CCA-3EB3-48F4-8B86-B4169450C8DA}" dt="2024-06-26T20:28:51.139" v="13541"/>
              <pc2:cmMkLst xmlns:pc2="http://schemas.microsoft.com/office/powerpoint/2019/9/main/command">
                <pc:docMk/>
                <pc:sldMk cId="1488541577" sldId="274"/>
                <pc2:cmMk id="{AC64AF39-1E26-43FC-8DC1-BE8A1D6BF20D}"/>
              </pc2:cmMkLst>
            </pc226:cmChg>
          </p:ext>
        </pc:extLst>
      </pc:sldChg>
      <pc:sldChg chg="modNotesTx">
        <pc:chgData name="Liang Yang" userId="7a7c13a3-d26c-494d-9577-22c5c3f8a804" providerId="ADAL" clId="{B6DF2CCA-3EB3-48F4-8B86-B4169450C8DA}" dt="2024-06-26T20:39:57.393" v="14744" actId="20577"/>
        <pc:sldMkLst>
          <pc:docMk/>
          <pc:sldMk cId="2417961445" sldId="275"/>
        </pc:sldMkLst>
      </pc:sldChg>
      <pc:sldChg chg="delSp add del mod">
        <pc:chgData name="Liang Yang" userId="7a7c13a3-d26c-494d-9577-22c5c3f8a804" providerId="ADAL" clId="{B6DF2CCA-3EB3-48F4-8B86-B4169450C8DA}" dt="2024-06-26T04:40:53.541" v="352" actId="47"/>
        <pc:sldMkLst>
          <pc:docMk/>
          <pc:sldMk cId="131115727" sldId="276"/>
        </pc:sldMkLst>
        <pc:picChg chg="del">
          <ac:chgData name="Liang Yang" userId="7a7c13a3-d26c-494d-9577-22c5c3f8a804" providerId="ADAL" clId="{B6DF2CCA-3EB3-48F4-8B86-B4169450C8DA}" dt="2024-06-26T04:40:47.314" v="350" actId="478"/>
          <ac:picMkLst>
            <pc:docMk/>
            <pc:sldMk cId="131115727" sldId="276"/>
            <ac:picMk id="65" creationId="{2CA3ABC1-8B84-A950-6219-060F605F59DC}"/>
          </ac:picMkLst>
        </pc:picChg>
      </pc:sldChg>
      <pc:sldChg chg="addSp delSp modSp add mod ord modNotesTx">
        <pc:chgData name="Liang Yang" userId="7a7c13a3-d26c-494d-9577-22c5c3f8a804" providerId="ADAL" clId="{B6DF2CCA-3EB3-48F4-8B86-B4169450C8DA}" dt="2024-06-26T20:59:57.988" v="15788" actId="20577"/>
        <pc:sldMkLst>
          <pc:docMk/>
          <pc:sldMk cId="1237058929" sldId="277"/>
        </pc:sldMkLst>
        <pc:spChg chg="mod ord">
          <ac:chgData name="Liang Yang" userId="7a7c13a3-d26c-494d-9577-22c5c3f8a804" providerId="ADAL" clId="{B6DF2CCA-3EB3-48F4-8B86-B4169450C8DA}" dt="2024-06-26T18:32:26.480" v="11159"/>
          <ac:spMkLst>
            <pc:docMk/>
            <pc:sldMk cId="1237058929" sldId="277"/>
            <ac:spMk id="2" creationId="{CBADF92F-4066-F747-AAEF-597A8340E927}"/>
          </ac:spMkLst>
        </pc:spChg>
        <pc:spChg chg="add del mod modVis">
          <ac:chgData name="Liang Yang" userId="7a7c13a3-d26c-494d-9577-22c5c3f8a804" providerId="ADAL" clId="{B6DF2CCA-3EB3-48F4-8B86-B4169450C8DA}" dt="2024-06-26T05:47:30.325" v="1410"/>
          <ac:spMkLst>
            <pc:docMk/>
            <pc:sldMk cId="1237058929" sldId="277"/>
            <ac:spMk id="3" creationId="{56DB1F01-1DD3-B96C-F98A-58ED4AFEAABD}"/>
          </ac:spMkLst>
        </pc:spChg>
        <pc:spChg chg="add del mod modVis">
          <ac:chgData name="Liang Yang" userId="7a7c13a3-d26c-494d-9577-22c5c3f8a804" providerId="ADAL" clId="{B6DF2CCA-3EB3-48F4-8B86-B4169450C8DA}" dt="2024-06-26T18:18:37.008" v="9626"/>
          <ac:spMkLst>
            <pc:docMk/>
            <pc:sldMk cId="1237058929" sldId="277"/>
            <ac:spMk id="3" creationId="{F4B842E3-F938-D30F-C838-45594CA4D901}"/>
          </ac:spMkLst>
        </pc:spChg>
        <pc:spChg chg="add del mod modVis">
          <ac:chgData name="Liang Yang" userId="7a7c13a3-d26c-494d-9577-22c5c3f8a804" providerId="ADAL" clId="{B6DF2CCA-3EB3-48F4-8B86-B4169450C8DA}" dt="2024-06-26T18:18:37.684" v="9654"/>
          <ac:spMkLst>
            <pc:docMk/>
            <pc:sldMk cId="1237058929" sldId="277"/>
            <ac:spMk id="5" creationId="{1ADDE966-E2B8-5B0A-5E10-EDC725657323}"/>
          </ac:spMkLst>
        </pc:spChg>
        <pc:spChg chg="del">
          <ac:chgData name="Liang Yang" userId="7a7c13a3-d26c-494d-9577-22c5c3f8a804" providerId="ADAL" clId="{B6DF2CCA-3EB3-48F4-8B86-B4169450C8DA}" dt="2024-06-26T04:41:02.071" v="353" actId="478"/>
          <ac:spMkLst>
            <pc:docMk/>
            <pc:sldMk cId="1237058929" sldId="277"/>
            <ac:spMk id="6" creationId="{6C606C48-D868-0ADA-DBFA-CDCA7DBAD28D}"/>
          </ac:spMkLst>
        </pc:spChg>
        <pc:spChg chg="add mod ord">
          <ac:chgData name="Liang Yang" userId="7a7c13a3-d26c-494d-9577-22c5c3f8a804" providerId="ADAL" clId="{B6DF2CCA-3EB3-48F4-8B86-B4169450C8DA}" dt="2024-06-26T18:33:06.427" v="11256" actId="207"/>
          <ac:spMkLst>
            <pc:docMk/>
            <pc:sldMk cId="1237058929" sldId="277"/>
            <ac:spMk id="6" creationId="{79275EAE-EC9B-2A5B-E0A6-D4E96E48A14D}"/>
          </ac:spMkLst>
        </pc:spChg>
        <pc:spChg chg="add mod ord">
          <ac:chgData name="Liang Yang" userId="7a7c13a3-d26c-494d-9577-22c5c3f8a804" providerId="ADAL" clId="{B6DF2CCA-3EB3-48F4-8B86-B4169450C8DA}" dt="2024-06-26T18:32:26.511" v="11245"/>
          <ac:spMkLst>
            <pc:docMk/>
            <pc:sldMk cId="1237058929" sldId="277"/>
            <ac:spMk id="7" creationId="{812C6B82-9C45-4086-0773-CB0695E1B266}"/>
          </ac:spMkLst>
        </pc:spChg>
        <pc:spChg chg="add mod ord">
          <ac:chgData name="Liang Yang" userId="7a7c13a3-d26c-494d-9577-22c5c3f8a804" providerId="ADAL" clId="{B6DF2CCA-3EB3-48F4-8B86-B4169450C8DA}" dt="2024-06-26T18:32:26.480" v="11161"/>
          <ac:spMkLst>
            <pc:docMk/>
            <pc:sldMk cId="1237058929" sldId="277"/>
            <ac:spMk id="8" creationId="{A3E3216D-1333-6F1C-AA06-15A0971AD856}"/>
          </ac:spMkLst>
        </pc:spChg>
        <pc:spChg chg="del">
          <ac:chgData name="Liang Yang" userId="7a7c13a3-d26c-494d-9577-22c5c3f8a804" providerId="ADAL" clId="{B6DF2CCA-3EB3-48F4-8B86-B4169450C8DA}" dt="2024-06-26T04:41:02.071" v="353" actId="478"/>
          <ac:spMkLst>
            <pc:docMk/>
            <pc:sldMk cId="1237058929" sldId="277"/>
            <ac:spMk id="9" creationId="{76AF5A67-A96D-A899-BB90-0F6D84AFF91B}"/>
          </ac:spMkLst>
        </pc:spChg>
        <pc:spChg chg="add mod">
          <ac:chgData name="Liang Yang" userId="7a7c13a3-d26c-494d-9577-22c5c3f8a804" providerId="ADAL" clId="{B6DF2CCA-3EB3-48F4-8B86-B4169450C8DA}" dt="2024-06-26T19:38:30.024" v="12089" actId="14100"/>
          <ac:spMkLst>
            <pc:docMk/>
            <pc:sldMk cId="1237058929" sldId="277"/>
            <ac:spMk id="9" creationId="{D609EA5D-108F-0172-1D4F-07D9F7655C16}"/>
          </ac:spMkLst>
        </pc:spChg>
        <pc:spChg chg="add mod ord">
          <ac:chgData name="Liang Yang" userId="7a7c13a3-d26c-494d-9577-22c5c3f8a804" providerId="ADAL" clId="{B6DF2CCA-3EB3-48F4-8B86-B4169450C8DA}" dt="2024-06-26T18:32:26.480" v="11164"/>
          <ac:spMkLst>
            <pc:docMk/>
            <pc:sldMk cId="1237058929" sldId="277"/>
            <ac:spMk id="11" creationId="{604AA759-A723-4B32-93FF-CF2BF85F0702}"/>
          </ac:spMkLst>
        </pc:spChg>
        <pc:spChg chg="add mod ord">
          <ac:chgData name="Liang Yang" userId="7a7c13a3-d26c-494d-9577-22c5c3f8a804" providerId="ADAL" clId="{B6DF2CCA-3EB3-48F4-8B86-B4169450C8DA}" dt="2024-06-26T18:32:26.480" v="11166"/>
          <ac:spMkLst>
            <pc:docMk/>
            <pc:sldMk cId="1237058929" sldId="277"/>
            <ac:spMk id="12" creationId="{D0393965-CA1B-C8B4-E2C9-B421013C2C67}"/>
          </ac:spMkLst>
        </pc:spChg>
        <pc:spChg chg="del">
          <ac:chgData name="Liang Yang" userId="7a7c13a3-d26c-494d-9577-22c5c3f8a804" providerId="ADAL" clId="{B6DF2CCA-3EB3-48F4-8B86-B4169450C8DA}" dt="2024-06-26T04:41:02.071" v="353" actId="478"/>
          <ac:spMkLst>
            <pc:docMk/>
            <pc:sldMk cId="1237058929" sldId="277"/>
            <ac:spMk id="13" creationId="{4D675EC5-B653-FCEB-618B-4A9F1B355FF6}"/>
          </ac:spMkLst>
        </pc:spChg>
        <pc:spChg chg="del">
          <ac:chgData name="Liang Yang" userId="7a7c13a3-d26c-494d-9577-22c5c3f8a804" providerId="ADAL" clId="{B6DF2CCA-3EB3-48F4-8B86-B4169450C8DA}" dt="2024-06-26T04:41:02.071" v="353" actId="478"/>
          <ac:spMkLst>
            <pc:docMk/>
            <pc:sldMk cId="1237058929" sldId="277"/>
            <ac:spMk id="14" creationId="{60DBA03E-5ECF-3230-05FA-59BF9D9BBECA}"/>
          </ac:spMkLst>
        </pc:spChg>
        <pc:spChg chg="add mod ord">
          <ac:chgData name="Liang Yang" userId="7a7c13a3-d26c-494d-9577-22c5c3f8a804" providerId="ADAL" clId="{B6DF2CCA-3EB3-48F4-8B86-B4169450C8DA}" dt="2024-06-26T18:32:26.480" v="11168"/>
          <ac:spMkLst>
            <pc:docMk/>
            <pc:sldMk cId="1237058929" sldId="277"/>
            <ac:spMk id="15" creationId="{316C5B94-8A9A-1D2F-386D-114CE418F2FC}"/>
          </ac:spMkLst>
        </pc:spChg>
        <pc:spChg chg="add mod ord">
          <ac:chgData name="Liang Yang" userId="7a7c13a3-d26c-494d-9577-22c5c3f8a804" providerId="ADAL" clId="{B6DF2CCA-3EB3-48F4-8B86-B4169450C8DA}" dt="2024-06-26T18:32:26.480" v="11170"/>
          <ac:spMkLst>
            <pc:docMk/>
            <pc:sldMk cId="1237058929" sldId="277"/>
            <ac:spMk id="16" creationId="{B92A8D62-0056-0624-21E4-A40FA09C878F}"/>
          </ac:spMkLst>
        </pc:spChg>
        <pc:spChg chg="del">
          <ac:chgData name="Liang Yang" userId="7a7c13a3-d26c-494d-9577-22c5c3f8a804" providerId="ADAL" clId="{B6DF2CCA-3EB3-48F4-8B86-B4169450C8DA}" dt="2024-06-26T04:41:02.071" v="353" actId="478"/>
          <ac:spMkLst>
            <pc:docMk/>
            <pc:sldMk cId="1237058929" sldId="277"/>
            <ac:spMk id="22" creationId="{A0DA93DC-B8C3-5067-DFF9-8A61C599FA1E}"/>
          </ac:spMkLst>
        </pc:spChg>
        <pc:spChg chg="add mod ord">
          <ac:chgData name="Liang Yang" userId="7a7c13a3-d26c-494d-9577-22c5c3f8a804" providerId="ADAL" clId="{B6DF2CCA-3EB3-48F4-8B86-B4169450C8DA}" dt="2024-06-26T19:32:49.476" v="11678" actId="20577"/>
          <ac:spMkLst>
            <pc:docMk/>
            <pc:sldMk cId="1237058929" sldId="277"/>
            <ac:spMk id="23" creationId="{90AA7A05-C148-F57F-FD70-56BCB7EE7DFE}"/>
          </ac:spMkLst>
        </pc:spChg>
        <pc:spChg chg="add mod ord">
          <ac:chgData name="Liang Yang" userId="7a7c13a3-d26c-494d-9577-22c5c3f8a804" providerId="ADAL" clId="{B6DF2CCA-3EB3-48F4-8B86-B4169450C8DA}" dt="2024-06-26T18:32:26.480" v="11176"/>
          <ac:spMkLst>
            <pc:docMk/>
            <pc:sldMk cId="1237058929" sldId="277"/>
            <ac:spMk id="24" creationId="{FB5B7794-35BC-81B9-5724-145C51329154}"/>
          </ac:spMkLst>
        </pc:spChg>
        <pc:spChg chg="add mod ord">
          <ac:chgData name="Liang Yang" userId="7a7c13a3-d26c-494d-9577-22c5c3f8a804" providerId="ADAL" clId="{B6DF2CCA-3EB3-48F4-8B86-B4169450C8DA}" dt="2024-06-26T20:59:57.988" v="15788" actId="20577"/>
          <ac:spMkLst>
            <pc:docMk/>
            <pc:sldMk cId="1237058929" sldId="277"/>
            <ac:spMk id="25" creationId="{736D2F9A-CBE5-CB3C-8BD9-0BF1AC526AFF}"/>
          </ac:spMkLst>
        </pc:spChg>
        <pc:spChg chg="del">
          <ac:chgData name="Liang Yang" userId="7a7c13a3-d26c-494d-9577-22c5c3f8a804" providerId="ADAL" clId="{B6DF2CCA-3EB3-48F4-8B86-B4169450C8DA}" dt="2024-06-26T04:41:02.071" v="353" actId="478"/>
          <ac:spMkLst>
            <pc:docMk/>
            <pc:sldMk cId="1237058929" sldId="277"/>
            <ac:spMk id="29" creationId="{D8686725-98D9-B923-48B3-F66A1EEB4B3C}"/>
          </ac:spMkLst>
        </pc:spChg>
        <pc:spChg chg="add mod ord">
          <ac:chgData name="Liang Yang" userId="7a7c13a3-d26c-494d-9577-22c5c3f8a804" providerId="ADAL" clId="{B6DF2CCA-3EB3-48F4-8B86-B4169450C8DA}" dt="2024-06-26T19:36:59.534" v="12016" actId="1036"/>
          <ac:spMkLst>
            <pc:docMk/>
            <pc:sldMk cId="1237058929" sldId="277"/>
            <ac:spMk id="36" creationId="{1A742C11-877D-C0A1-144A-BDAACC841198}"/>
          </ac:spMkLst>
        </pc:spChg>
        <pc:spChg chg="add mod ord">
          <ac:chgData name="Liang Yang" userId="7a7c13a3-d26c-494d-9577-22c5c3f8a804" providerId="ADAL" clId="{B6DF2CCA-3EB3-48F4-8B86-B4169450C8DA}" dt="2024-06-26T19:36:51.088" v="11986" actId="14100"/>
          <ac:spMkLst>
            <pc:docMk/>
            <pc:sldMk cId="1237058929" sldId="277"/>
            <ac:spMk id="37" creationId="{B6839EDD-2D36-E61A-CBF8-DE5DEEA83B12}"/>
          </ac:spMkLst>
        </pc:spChg>
        <pc:spChg chg="del">
          <ac:chgData name="Liang Yang" userId="7a7c13a3-d26c-494d-9577-22c5c3f8a804" providerId="ADAL" clId="{B6DF2CCA-3EB3-48F4-8B86-B4169450C8DA}" dt="2024-06-26T04:41:02.071" v="353" actId="478"/>
          <ac:spMkLst>
            <pc:docMk/>
            <pc:sldMk cId="1237058929" sldId="277"/>
            <ac:spMk id="38" creationId="{63211A1B-4929-FEE4-C162-818C781E9621}"/>
          </ac:spMkLst>
        </pc:spChg>
        <pc:spChg chg="add mod ord">
          <ac:chgData name="Liang Yang" userId="7a7c13a3-d26c-494d-9577-22c5c3f8a804" providerId="ADAL" clId="{B6DF2CCA-3EB3-48F4-8B86-B4169450C8DA}" dt="2024-06-26T18:32:26.496" v="11199"/>
          <ac:spMkLst>
            <pc:docMk/>
            <pc:sldMk cId="1237058929" sldId="277"/>
            <ac:spMk id="39" creationId="{3ED2B23B-613F-3D17-5A15-35644014E028}"/>
          </ac:spMkLst>
        </pc:spChg>
        <pc:spChg chg="add mod ord">
          <ac:chgData name="Liang Yang" userId="7a7c13a3-d26c-494d-9577-22c5c3f8a804" providerId="ADAL" clId="{B6DF2CCA-3EB3-48F4-8B86-B4169450C8DA}" dt="2024-06-26T19:36:59.534" v="12016" actId="1036"/>
          <ac:spMkLst>
            <pc:docMk/>
            <pc:sldMk cId="1237058929" sldId="277"/>
            <ac:spMk id="40" creationId="{83FC8858-547A-342D-80A3-99EA1EF5811E}"/>
          </ac:spMkLst>
        </pc:spChg>
        <pc:spChg chg="add mod ord">
          <ac:chgData name="Liang Yang" userId="7a7c13a3-d26c-494d-9577-22c5c3f8a804" providerId="ADAL" clId="{B6DF2CCA-3EB3-48F4-8B86-B4169450C8DA}" dt="2024-06-26T19:40:22.271" v="12136" actId="1036"/>
          <ac:spMkLst>
            <pc:docMk/>
            <pc:sldMk cId="1237058929" sldId="277"/>
            <ac:spMk id="41" creationId="{B1D3FBBC-8067-9BA2-7A4E-2F9D5A9F3966}"/>
          </ac:spMkLst>
        </pc:spChg>
        <pc:spChg chg="add mod ord">
          <ac:chgData name="Liang Yang" userId="7a7c13a3-d26c-494d-9577-22c5c3f8a804" providerId="ADAL" clId="{B6DF2CCA-3EB3-48F4-8B86-B4169450C8DA}" dt="2024-06-26T18:32:26.496" v="11205"/>
          <ac:spMkLst>
            <pc:docMk/>
            <pc:sldMk cId="1237058929" sldId="277"/>
            <ac:spMk id="42" creationId="{29F58235-69DB-5DC3-CB99-98A922EAFBD7}"/>
          </ac:spMkLst>
        </pc:spChg>
        <pc:spChg chg="add mod ord">
          <ac:chgData name="Liang Yang" userId="7a7c13a3-d26c-494d-9577-22c5c3f8a804" providerId="ADAL" clId="{B6DF2CCA-3EB3-48F4-8B86-B4169450C8DA}" dt="2024-06-26T18:32:26.496" v="11209"/>
          <ac:spMkLst>
            <pc:docMk/>
            <pc:sldMk cId="1237058929" sldId="277"/>
            <ac:spMk id="44" creationId="{04F27696-F0A0-286D-6434-8AC197E0FE96}"/>
          </ac:spMkLst>
        </pc:spChg>
        <pc:spChg chg="add mod ord">
          <ac:chgData name="Liang Yang" userId="7a7c13a3-d26c-494d-9577-22c5c3f8a804" providerId="ADAL" clId="{B6DF2CCA-3EB3-48F4-8B86-B4169450C8DA}" dt="2024-06-26T18:32:26.496" v="11217"/>
          <ac:spMkLst>
            <pc:docMk/>
            <pc:sldMk cId="1237058929" sldId="277"/>
            <ac:spMk id="48" creationId="{8D50A32F-E4C7-3366-4C53-903E667716F7}"/>
          </ac:spMkLst>
        </pc:spChg>
        <pc:spChg chg="add mod ord">
          <ac:chgData name="Liang Yang" userId="7a7c13a3-d26c-494d-9577-22c5c3f8a804" providerId="ADAL" clId="{B6DF2CCA-3EB3-48F4-8B86-B4169450C8DA}" dt="2024-06-26T18:32:26.496" v="11221"/>
          <ac:spMkLst>
            <pc:docMk/>
            <pc:sldMk cId="1237058929" sldId="277"/>
            <ac:spMk id="50" creationId="{957FF075-32CA-3FA1-A414-1554FCB6B838}"/>
          </ac:spMkLst>
        </pc:spChg>
        <pc:spChg chg="add mod ord">
          <ac:chgData name="Liang Yang" userId="7a7c13a3-d26c-494d-9577-22c5c3f8a804" providerId="ADAL" clId="{B6DF2CCA-3EB3-48F4-8B86-B4169450C8DA}" dt="2024-06-26T18:32:26.496" v="11223"/>
          <ac:spMkLst>
            <pc:docMk/>
            <pc:sldMk cId="1237058929" sldId="277"/>
            <ac:spMk id="51" creationId="{85550E27-8C13-AC7A-95DF-72043B38B684}"/>
          </ac:spMkLst>
        </pc:spChg>
        <pc:spChg chg="add mod ord">
          <ac:chgData name="Liang Yang" userId="7a7c13a3-d26c-494d-9577-22c5c3f8a804" providerId="ADAL" clId="{B6DF2CCA-3EB3-48F4-8B86-B4169450C8DA}" dt="2024-06-26T18:32:26.496" v="11227"/>
          <ac:spMkLst>
            <pc:docMk/>
            <pc:sldMk cId="1237058929" sldId="277"/>
            <ac:spMk id="53" creationId="{58654F94-181B-473D-6BCC-C9325493B2A9}"/>
          </ac:spMkLst>
        </pc:spChg>
        <pc:spChg chg="add mod ord">
          <ac:chgData name="Liang Yang" userId="7a7c13a3-d26c-494d-9577-22c5c3f8a804" providerId="ADAL" clId="{B6DF2CCA-3EB3-48F4-8B86-B4169450C8DA}" dt="2024-06-26T18:32:26.496" v="11229"/>
          <ac:spMkLst>
            <pc:docMk/>
            <pc:sldMk cId="1237058929" sldId="277"/>
            <ac:spMk id="54" creationId="{E8283976-E5A7-4F5D-7070-F3910A49E2CC}"/>
          </ac:spMkLst>
        </pc:spChg>
        <pc:spChg chg="add mod ord">
          <ac:chgData name="Liang Yang" userId="7a7c13a3-d26c-494d-9577-22c5c3f8a804" providerId="ADAL" clId="{B6DF2CCA-3EB3-48F4-8B86-B4169450C8DA}" dt="2024-06-26T18:32:26.496" v="11231"/>
          <ac:spMkLst>
            <pc:docMk/>
            <pc:sldMk cId="1237058929" sldId="277"/>
            <ac:spMk id="55" creationId="{B8CD005C-B632-556F-7299-C91A4FA1A627}"/>
          </ac:spMkLst>
        </pc:spChg>
        <pc:spChg chg="add mod ord">
          <ac:chgData name="Liang Yang" userId="7a7c13a3-d26c-494d-9577-22c5c3f8a804" providerId="ADAL" clId="{B6DF2CCA-3EB3-48F4-8B86-B4169450C8DA}" dt="2024-06-26T18:32:26.496" v="11235"/>
          <ac:spMkLst>
            <pc:docMk/>
            <pc:sldMk cId="1237058929" sldId="277"/>
            <ac:spMk id="57" creationId="{3F64A714-E23B-8BFB-E144-D4B8FDC49734}"/>
          </ac:spMkLst>
        </pc:spChg>
        <pc:spChg chg="add mod ord">
          <ac:chgData name="Liang Yang" userId="7a7c13a3-d26c-494d-9577-22c5c3f8a804" providerId="ADAL" clId="{B6DF2CCA-3EB3-48F4-8B86-B4169450C8DA}" dt="2024-06-26T18:32:26.511" v="11237"/>
          <ac:spMkLst>
            <pc:docMk/>
            <pc:sldMk cId="1237058929" sldId="277"/>
            <ac:spMk id="58" creationId="{25EFCC59-F3A6-EDDB-C053-61B47C44B724}"/>
          </ac:spMkLst>
        </pc:spChg>
        <pc:spChg chg="add mod ord">
          <ac:chgData name="Liang Yang" userId="7a7c13a3-d26c-494d-9577-22c5c3f8a804" providerId="ADAL" clId="{B6DF2CCA-3EB3-48F4-8B86-B4169450C8DA}" dt="2024-06-26T18:32:26.511" v="11241"/>
          <ac:spMkLst>
            <pc:docMk/>
            <pc:sldMk cId="1237058929" sldId="277"/>
            <ac:spMk id="60" creationId="{BD8EAFDF-1030-8A0B-4564-3C8DEB941141}"/>
          </ac:spMkLst>
        </pc:spChg>
        <pc:spChg chg="add mod ord">
          <ac:chgData name="Liang Yang" userId="7a7c13a3-d26c-494d-9577-22c5c3f8a804" providerId="ADAL" clId="{B6DF2CCA-3EB3-48F4-8B86-B4169450C8DA}" dt="2024-06-26T18:32:26.511" v="11243"/>
          <ac:spMkLst>
            <pc:docMk/>
            <pc:sldMk cId="1237058929" sldId="277"/>
            <ac:spMk id="61" creationId="{64C6BD52-3D6A-E763-58AE-E4F43E020A3F}"/>
          </ac:spMkLst>
        </pc:spChg>
        <pc:spChg chg="add del mod modVis">
          <ac:chgData name="Liang Yang" userId="7a7c13a3-d26c-494d-9577-22c5c3f8a804" providerId="ADAL" clId="{B6DF2CCA-3EB3-48F4-8B86-B4169450C8DA}" dt="2024-06-26T04:44:29.928" v="476"/>
          <ac:spMkLst>
            <pc:docMk/>
            <pc:sldMk cId="1237058929" sldId="277"/>
            <ac:spMk id="62" creationId="{2280E66E-8201-0B46-422D-21139F15A843}"/>
          </ac:spMkLst>
        </pc:spChg>
        <pc:spChg chg="add del mod modVis">
          <ac:chgData name="Liang Yang" userId="7a7c13a3-d26c-494d-9577-22c5c3f8a804" providerId="ADAL" clId="{B6DF2CCA-3EB3-48F4-8B86-B4169450C8DA}" dt="2024-06-26T04:44:31.115" v="508"/>
          <ac:spMkLst>
            <pc:docMk/>
            <pc:sldMk cId="1237058929" sldId="277"/>
            <ac:spMk id="63" creationId="{FED63362-C837-8E1A-F38A-E772945B0172}"/>
          </ac:spMkLst>
        </pc:spChg>
        <pc:spChg chg="add del mod modVis">
          <ac:chgData name="Liang Yang" userId="7a7c13a3-d26c-494d-9577-22c5c3f8a804" providerId="ADAL" clId="{B6DF2CCA-3EB3-48F4-8B86-B4169450C8DA}" dt="2024-06-26T04:44:32.053" v="536"/>
          <ac:spMkLst>
            <pc:docMk/>
            <pc:sldMk cId="1237058929" sldId="277"/>
            <ac:spMk id="5120" creationId="{A7B216D6-E929-10E4-0A40-BA363DBD7341}"/>
          </ac:spMkLst>
        </pc:spChg>
        <pc:spChg chg="add del mod modVis">
          <ac:chgData name="Liang Yang" userId="7a7c13a3-d26c-494d-9577-22c5c3f8a804" providerId="ADAL" clId="{B6DF2CCA-3EB3-48F4-8B86-B4169450C8DA}" dt="2024-06-26T04:44:35.741" v="583"/>
          <ac:spMkLst>
            <pc:docMk/>
            <pc:sldMk cId="1237058929" sldId="277"/>
            <ac:spMk id="5121" creationId="{F1922D24-9928-0E0D-0429-ECA48D9E5655}"/>
          </ac:spMkLst>
        </pc:spChg>
        <pc:spChg chg="add del mod modVis">
          <ac:chgData name="Liang Yang" userId="7a7c13a3-d26c-494d-9577-22c5c3f8a804" providerId="ADAL" clId="{B6DF2CCA-3EB3-48F4-8B86-B4169450C8DA}" dt="2024-06-26T04:44:37.069" v="617"/>
          <ac:spMkLst>
            <pc:docMk/>
            <pc:sldMk cId="1237058929" sldId="277"/>
            <ac:spMk id="5122" creationId="{2626BEB0-6A81-0DEF-88FA-CE20E4E68A62}"/>
          </ac:spMkLst>
        </pc:spChg>
        <pc:spChg chg="del">
          <ac:chgData name="Liang Yang" userId="7a7c13a3-d26c-494d-9577-22c5c3f8a804" providerId="ADAL" clId="{B6DF2CCA-3EB3-48F4-8B86-B4169450C8DA}" dt="2024-06-26T04:41:04.461" v="354" actId="478"/>
          <ac:spMkLst>
            <pc:docMk/>
            <pc:sldMk cId="1237058929" sldId="277"/>
            <ac:spMk id="5141" creationId="{059F212E-E3E6-66F4-6B6C-755A34A2BB12}"/>
          </ac:spMkLst>
        </pc:spChg>
        <pc:spChg chg="del">
          <ac:chgData name="Liang Yang" userId="7a7c13a3-d26c-494d-9577-22c5c3f8a804" providerId="ADAL" clId="{B6DF2CCA-3EB3-48F4-8B86-B4169450C8DA}" dt="2024-06-26T04:41:04.461" v="354" actId="478"/>
          <ac:spMkLst>
            <pc:docMk/>
            <pc:sldMk cId="1237058929" sldId="277"/>
            <ac:spMk id="5143" creationId="{106955D2-6369-19AF-EB6E-36EF2E41DF21}"/>
          </ac:spMkLst>
        </pc:spChg>
        <pc:grpChg chg="del">
          <ac:chgData name="Liang Yang" userId="7a7c13a3-d26c-494d-9577-22c5c3f8a804" providerId="ADAL" clId="{B6DF2CCA-3EB3-48F4-8B86-B4169450C8DA}" dt="2024-06-26T04:41:02.071" v="353" actId="478"/>
          <ac:grpSpMkLst>
            <pc:docMk/>
            <pc:sldMk cId="1237058929" sldId="277"/>
            <ac:grpSpMk id="20" creationId="{228127FD-CA51-CA2C-40E6-CCF312E866B1}"/>
          </ac:grpSpMkLst>
        </pc:grpChg>
        <pc:graphicFrameChg chg="mod">
          <ac:chgData name="Liang Yang" userId="7a7c13a3-d26c-494d-9577-22c5c3f8a804" providerId="ADAL" clId="{B6DF2CCA-3EB3-48F4-8B86-B4169450C8DA}" dt="2024-06-26T18:32:26.511" v="11251"/>
          <ac:graphicFrameMkLst>
            <pc:docMk/>
            <pc:sldMk cId="1237058929" sldId="277"/>
            <ac:graphicFrameMk id="4" creationId="{B0DF492E-9842-C18F-58FA-A416AC8482E4}"/>
          </ac:graphicFrameMkLst>
        </pc:graphicFrameChg>
        <pc:graphicFrameChg chg="add mod ord modGraphic">
          <ac:chgData name="Liang Yang" userId="7a7c13a3-d26c-494d-9577-22c5c3f8a804" providerId="ADAL" clId="{B6DF2CCA-3EB3-48F4-8B86-B4169450C8DA}" dt="2024-06-26T19:38:04.426" v="12042" actId="20577"/>
          <ac:graphicFrameMkLst>
            <pc:docMk/>
            <pc:sldMk cId="1237058929" sldId="277"/>
            <ac:graphicFrameMk id="35" creationId="{B726C953-0B81-9214-F494-B4216A3B57FD}"/>
          </ac:graphicFrameMkLst>
        </pc:graphicFrameChg>
        <pc:picChg chg="add mod">
          <ac:chgData name="Liang Yang" userId="7a7c13a3-d26c-494d-9577-22c5c3f8a804" providerId="ADAL" clId="{B6DF2CCA-3EB3-48F4-8B86-B4169450C8DA}" dt="2024-06-26T18:32:26.480" v="11162"/>
          <ac:picMkLst>
            <pc:docMk/>
            <pc:sldMk cId="1237058929" sldId="277"/>
            <ac:picMk id="10" creationId="{81E429FC-BB35-439B-949C-39CF017472AC}"/>
          </ac:picMkLst>
        </pc:picChg>
        <pc:picChg chg="del">
          <ac:chgData name="Liang Yang" userId="7a7c13a3-d26c-494d-9577-22c5c3f8a804" providerId="ADAL" clId="{B6DF2CCA-3EB3-48F4-8B86-B4169450C8DA}" dt="2024-06-26T04:41:02.071" v="353" actId="478"/>
          <ac:picMkLst>
            <pc:docMk/>
            <pc:sldMk cId="1237058929" sldId="277"/>
            <ac:picMk id="26" creationId="{D8836F90-2EED-972B-116F-06CCF5B061E4}"/>
          </ac:picMkLst>
        </pc:picChg>
        <pc:picChg chg="add mod ord">
          <ac:chgData name="Liang Yang" userId="7a7c13a3-d26c-494d-9577-22c5c3f8a804" providerId="ADAL" clId="{B6DF2CCA-3EB3-48F4-8B86-B4169450C8DA}" dt="2024-06-26T18:32:26.480" v="11180"/>
          <ac:picMkLst>
            <pc:docMk/>
            <pc:sldMk cId="1237058929" sldId="277"/>
            <ac:picMk id="27" creationId="{263C9091-B008-0917-34D4-00AD3FB53E1D}"/>
          </ac:picMkLst>
        </pc:picChg>
        <pc:picChg chg="add mod ord">
          <ac:chgData name="Liang Yang" userId="7a7c13a3-d26c-494d-9577-22c5c3f8a804" providerId="ADAL" clId="{B6DF2CCA-3EB3-48F4-8B86-B4169450C8DA}" dt="2024-06-26T18:32:26.480" v="11182"/>
          <ac:picMkLst>
            <pc:docMk/>
            <pc:sldMk cId="1237058929" sldId="277"/>
            <ac:picMk id="28" creationId="{8BE961B7-1288-A3DF-4551-45A856EEA348}"/>
          </ac:picMkLst>
        </pc:picChg>
        <pc:picChg chg="add mod ord">
          <ac:chgData name="Liang Yang" userId="7a7c13a3-d26c-494d-9577-22c5c3f8a804" providerId="ADAL" clId="{B6DF2CCA-3EB3-48F4-8B86-B4169450C8DA}" dt="2024-06-26T18:32:26.480" v="11184"/>
          <ac:picMkLst>
            <pc:docMk/>
            <pc:sldMk cId="1237058929" sldId="277"/>
            <ac:picMk id="30" creationId="{269145EB-263E-0C26-C4C2-B95A7C2DE06F}"/>
          </ac:picMkLst>
        </pc:picChg>
        <pc:picChg chg="add mod ord">
          <ac:chgData name="Liang Yang" userId="7a7c13a3-d26c-494d-9577-22c5c3f8a804" providerId="ADAL" clId="{B6DF2CCA-3EB3-48F4-8B86-B4169450C8DA}" dt="2024-06-26T18:32:26.480" v="11186"/>
          <ac:picMkLst>
            <pc:docMk/>
            <pc:sldMk cId="1237058929" sldId="277"/>
            <ac:picMk id="31" creationId="{0F1CA3A5-4FA3-160C-9D9E-EB57500982E9}"/>
          </ac:picMkLst>
        </pc:picChg>
        <pc:picChg chg="add mod ord">
          <ac:chgData name="Liang Yang" userId="7a7c13a3-d26c-494d-9577-22c5c3f8a804" providerId="ADAL" clId="{B6DF2CCA-3EB3-48F4-8B86-B4169450C8DA}" dt="2024-06-26T18:32:26.480" v="11188"/>
          <ac:picMkLst>
            <pc:docMk/>
            <pc:sldMk cId="1237058929" sldId="277"/>
            <ac:picMk id="32" creationId="{60219A78-770E-7F5B-531E-6A9B977F97BB}"/>
          </ac:picMkLst>
        </pc:picChg>
        <pc:picChg chg="add mod">
          <ac:chgData name="Liang Yang" userId="7a7c13a3-d26c-494d-9577-22c5c3f8a804" providerId="ADAL" clId="{B6DF2CCA-3EB3-48F4-8B86-B4169450C8DA}" dt="2024-06-26T18:32:26.480" v="11189"/>
          <ac:picMkLst>
            <pc:docMk/>
            <pc:sldMk cId="1237058929" sldId="277"/>
            <ac:picMk id="33" creationId="{E640C855-B5BC-2355-A2EE-C6BC0F7F0BB6}"/>
          </ac:picMkLst>
        </pc:picChg>
        <pc:picChg chg="add mod ord">
          <ac:chgData name="Liang Yang" userId="7a7c13a3-d26c-494d-9577-22c5c3f8a804" providerId="ADAL" clId="{B6DF2CCA-3EB3-48F4-8B86-B4169450C8DA}" dt="2024-06-26T18:32:26.480" v="11191"/>
          <ac:picMkLst>
            <pc:docMk/>
            <pc:sldMk cId="1237058929" sldId="277"/>
            <ac:picMk id="34" creationId="{C44C9BD0-6037-B28B-D765-0BF71C9776F0}"/>
          </ac:picMkLst>
        </pc:picChg>
        <pc:cxnChg chg="del">
          <ac:chgData name="Liang Yang" userId="7a7c13a3-d26c-494d-9577-22c5c3f8a804" providerId="ADAL" clId="{B6DF2CCA-3EB3-48F4-8B86-B4169450C8DA}" dt="2024-06-26T04:41:02.071" v="353" actId="478"/>
          <ac:cxnSpMkLst>
            <pc:docMk/>
            <pc:sldMk cId="1237058929" sldId="277"/>
            <ac:cxnSpMk id="7" creationId="{12E9515B-2BD0-5AFA-8F41-0924F8AEF774}"/>
          </ac:cxnSpMkLst>
        </pc:cxnChg>
        <pc:cxnChg chg="add mod">
          <ac:chgData name="Liang Yang" userId="7a7c13a3-d26c-494d-9577-22c5c3f8a804" providerId="ADAL" clId="{B6DF2CCA-3EB3-48F4-8B86-B4169450C8DA}" dt="2024-06-26T19:39:31.984" v="12119" actId="14100"/>
          <ac:cxnSpMkLst>
            <pc:docMk/>
            <pc:sldMk cId="1237058929" sldId="277"/>
            <ac:cxnSpMk id="14" creationId="{0A72B3F3-ACDC-C103-C7E5-7BA22CCF3B34}"/>
          </ac:cxnSpMkLst>
        </pc:cxnChg>
        <pc:cxnChg chg="add mod ord">
          <ac:chgData name="Liang Yang" userId="7a7c13a3-d26c-494d-9577-22c5c3f8a804" providerId="ADAL" clId="{B6DF2CCA-3EB3-48F4-8B86-B4169450C8DA}" dt="2024-06-26T18:32:26.480" v="11172"/>
          <ac:cxnSpMkLst>
            <pc:docMk/>
            <pc:sldMk cId="1237058929" sldId="277"/>
            <ac:cxnSpMk id="21" creationId="{D11DDD78-0386-5B2D-C6CF-36EEC856E7E2}"/>
          </ac:cxnSpMkLst>
        </pc:cxnChg>
        <pc:cxnChg chg="add mod ord">
          <ac:chgData name="Liang Yang" userId="7a7c13a3-d26c-494d-9577-22c5c3f8a804" providerId="ADAL" clId="{B6DF2CCA-3EB3-48F4-8B86-B4169450C8DA}" dt="2024-06-26T18:32:26.496" v="11207"/>
          <ac:cxnSpMkLst>
            <pc:docMk/>
            <pc:sldMk cId="1237058929" sldId="277"/>
            <ac:cxnSpMk id="43" creationId="{6E0E320D-2D6C-4E71-CDFA-C70046D3A1D3}"/>
          </ac:cxnSpMkLst>
        </pc:cxnChg>
        <pc:cxnChg chg="add mod ord">
          <ac:chgData name="Liang Yang" userId="7a7c13a3-d26c-494d-9577-22c5c3f8a804" providerId="ADAL" clId="{B6DF2CCA-3EB3-48F4-8B86-B4169450C8DA}" dt="2024-06-26T18:32:26.496" v="11211"/>
          <ac:cxnSpMkLst>
            <pc:docMk/>
            <pc:sldMk cId="1237058929" sldId="277"/>
            <ac:cxnSpMk id="45" creationId="{CC83FCB0-D299-1122-6FBC-D88B678BDB20}"/>
          </ac:cxnSpMkLst>
        </pc:cxnChg>
        <pc:cxnChg chg="add mod ord">
          <ac:chgData name="Liang Yang" userId="7a7c13a3-d26c-494d-9577-22c5c3f8a804" providerId="ADAL" clId="{B6DF2CCA-3EB3-48F4-8B86-B4169450C8DA}" dt="2024-06-26T18:32:26.496" v="11213"/>
          <ac:cxnSpMkLst>
            <pc:docMk/>
            <pc:sldMk cId="1237058929" sldId="277"/>
            <ac:cxnSpMk id="46" creationId="{F4DA2D9A-7A27-3D22-FA99-B80373085844}"/>
          </ac:cxnSpMkLst>
        </pc:cxnChg>
        <pc:cxnChg chg="add mod ord">
          <ac:chgData name="Liang Yang" userId="7a7c13a3-d26c-494d-9577-22c5c3f8a804" providerId="ADAL" clId="{B6DF2CCA-3EB3-48F4-8B86-B4169450C8DA}" dt="2024-06-26T18:32:26.496" v="11215"/>
          <ac:cxnSpMkLst>
            <pc:docMk/>
            <pc:sldMk cId="1237058929" sldId="277"/>
            <ac:cxnSpMk id="47" creationId="{698305E7-5026-E2BE-9E9C-990568C6BCF7}"/>
          </ac:cxnSpMkLst>
        </pc:cxnChg>
        <pc:cxnChg chg="add mod ord">
          <ac:chgData name="Liang Yang" userId="7a7c13a3-d26c-494d-9577-22c5c3f8a804" providerId="ADAL" clId="{B6DF2CCA-3EB3-48F4-8B86-B4169450C8DA}" dt="2024-06-26T18:32:26.496" v="11219"/>
          <ac:cxnSpMkLst>
            <pc:docMk/>
            <pc:sldMk cId="1237058929" sldId="277"/>
            <ac:cxnSpMk id="49" creationId="{D034EBEC-5B4B-4C48-E6AB-93AB03D7BD32}"/>
          </ac:cxnSpMkLst>
        </pc:cxnChg>
        <pc:cxnChg chg="add mod ord">
          <ac:chgData name="Liang Yang" userId="7a7c13a3-d26c-494d-9577-22c5c3f8a804" providerId="ADAL" clId="{B6DF2CCA-3EB3-48F4-8B86-B4169450C8DA}" dt="2024-06-26T18:32:26.496" v="11225"/>
          <ac:cxnSpMkLst>
            <pc:docMk/>
            <pc:sldMk cId="1237058929" sldId="277"/>
            <ac:cxnSpMk id="52" creationId="{1CE39FC6-C6DB-4D08-E7DC-0AB25D408876}"/>
          </ac:cxnSpMkLst>
        </pc:cxnChg>
        <pc:cxnChg chg="add mod ord">
          <ac:chgData name="Liang Yang" userId="7a7c13a3-d26c-494d-9577-22c5c3f8a804" providerId="ADAL" clId="{B6DF2CCA-3EB3-48F4-8B86-B4169450C8DA}" dt="2024-06-26T18:32:26.496" v="11233"/>
          <ac:cxnSpMkLst>
            <pc:docMk/>
            <pc:sldMk cId="1237058929" sldId="277"/>
            <ac:cxnSpMk id="56" creationId="{3284F624-2740-166A-C400-E08FDEC38B83}"/>
          </ac:cxnSpMkLst>
        </pc:cxnChg>
        <pc:cxnChg chg="add mod ord">
          <ac:chgData name="Liang Yang" userId="7a7c13a3-d26c-494d-9577-22c5c3f8a804" providerId="ADAL" clId="{B6DF2CCA-3EB3-48F4-8B86-B4169450C8DA}" dt="2024-06-26T18:32:26.511" v="11239"/>
          <ac:cxnSpMkLst>
            <pc:docMk/>
            <pc:sldMk cId="1237058929" sldId="277"/>
            <ac:cxnSpMk id="59" creationId="{FDE60B65-F7D1-2021-B945-61F44F0D67D1}"/>
          </ac:cxnSpMkLst>
        </pc:cxnChg>
        <pc:cxnChg chg="del">
          <ac:chgData name="Liang Yang" userId="7a7c13a3-d26c-494d-9577-22c5c3f8a804" providerId="ADAL" clId="{B6DF2CCA-3EB3-48F4-8B86-B4169450C8DA}" dt="2024-06-26T04:41:02.071" v="353" actId="478"/>
          <ac:cxnSpMkLst>
            <pc:docMk/>
            <pc:sldMk cId="1237058929" sldId="277"/>
            <ac:cxnSpMk id="5142" creationId="{02C79E9C-BED6-5F9A-3AE7-1766E4619D4F}"/>
          </ac:cxnSpMkLst>
        </pc:cxnChg>
        <pc:cxnChg chg="del">
          <ac:chgData name="Liang Yang" userId="7a7c13a3-d26c-494d-9577-22c5c3f8a804" providerId="ADAL" clId="{B6DF2CCA-3EB3-48F4-8B86-B4169450C8DA}" dt="2024-06-26T04:41:02.071" v="353" actId="478"/>
          <ac:cxnSpMkLst>
            <pc:docMk/>
            <pc:sldMk cId="1237058929" sldId="277"/>
            <ac:cxnSpMk id="5144" creationId="{7E9B1341-014D-7EF4-C967-C81529918A62}"/>
          </ac:cxnSpMkLst>
        </pc:cxnChg>
      </pc:sldChg>
      <pc:sldChg chg="add del">
        <pc:chgData name="Liang Yang" userId="7a7c13a3-d26c-494d-9577-22c5c3f8a804" providerId="ADAL" clId="{B6DF2CCA-3EB3-48F4-8B86-B4169450C8DA}" dt="2024-06-26T15:06:54.540" v="4034" actId="47"/>
        <pc:sldMkLst>
          <pc:docMk/>
          <pc:sldMk cId="2150406837" sldId="278"/>
        </pc:sldMkLst>
      </pc:sldChg>
      <pc:sldChg chg="addSp delSp modSp add mod modNotesTx">
        <pc:chgData name="Liang Yang" userId="7a7c13a3-d26c-494d-9577-22c5c3f8a804" providerId="ADAL" clId="{B6DF2CCA-3EB3-48F4-8B86-B4169450C8DA}" dt="2024-06-26T20:48:54.407" v="15464" actId="20577"/>
        <pc:sldMkLst>
          <pc:docMk/>
          <pc:sldMk cId="3454528477" sldId="279"/>
        </pc:sldMkLst>
        <pc:spChg chg="mod">
          <ac:chgData name="Liang Yang" userId="7a7c13a3-d26c-494d-9577-22c5c3f8a804" providerId="ADAL" clId="{B6DF2CCA-3EB3-48F4-8B86-B4169450C8DA}" dt="2024-06-26T17:19:43.993" v="8134" actId="948"/>
          <ac:spMkLst>
            <pc:docMk/>
            <pc:sldMk cId="3454528477" sldId="279"/>
            <ac:spMk id="2" creationId="{190C47B4-A196-DC50-2C83-9E3B6718CD8B}"/>
          </ac:spMkLst>
        </pc:spChg>
        <pc:spChg chg="del">
          <ac:chgData name="Liang Yang" userId="7a7c13a3-d26c-494d-9577-22c5c3f8a804" providerId="ADAL" clId="{B6DF2CCA-3EB3-48F4-8B86-B4169450C8DA}" dt="2024-06-26T16:21:41.120" v="5320" actId="478"/>
          <ac:spMkLst>
            <pc:docMk/>
            <pc:sldMk cId="3454528477" sldId="279"/>
            <ac:spMk id="3" creationId="{18809C0A-B909-174D-788D-5302929F63FA}"/>
          </ac:spMkLst>
        </pc:spChg>
        <pc:spChg chg="add del mod modVis">
          <ac:chgData name="Liang Yang" userId="7a7c13a3-d26c-494d-9577-22c5c3f8a804" providerId="ADAL" clId="{B6DF2CCA-3EB3-48F4-8B86-B4169450C8DA}" dt="2024-06-26T05:53:00.006" v="2919"/>
          <ac:spMkLst>
            <pc:docMk/>
            <pc:sldMk cId="3454528477" sldId="279"/>
            <ac:spMk id="4" creationId="{F662F956-16B2-CAC8-8262-619B1705878F}"/>
          </ac:spMkLst>
        </pc:spChg>
        <pc:spChg chg="add del mod modVis">
          <ac:chgData name="Liang Yang" userId="7a7c13a3-d26c-494d-9577-22c5c3f8a804" providerId="ADAL" clId="{B6DF2CCA-3EB3-48F4-8B86-B4169450C8DA}" dt="2024-06-26T05:53:01.776" v="2954"/>
          <ac:spMkLst>
            <pc:docMk/>
            <pc:sldMk cId="3454528477" sldId="279"/>
            <ac:spMk id="6" creationId="{88AB2B34-E938-AF31-F524-8CC73DE66CD6}"/>
          </ac:spMkLst>
        </pc:spChg>
        <pc:spChg chg="add del mod modVis">
          <ac:chgData name="Liang Yang" userId="7a7c13a3-d26c-494d-9577-22c5c3f8a804" providerId="ADAL" clId="{B6DF2CCA-3EB3-48F4-8B86-B4169450C8DA}" dt="2024-06-26T05:53:03.341" v="2991"/>
          <ac:spMkLst>
            <pc:docMk/>
            <pc:sldMk cId="3454528477" sldId="279"/>
            <ac:spMk id="7" creationId="{82EB2489-E4A9-190E-F879-3A7A83A33987}"/>
          </ac:spMkLst>
        </pc:spChg>
        <pc:spChg chg="add del mod modVis">
          <ac:chgData name="Liang Yang" userId="7a7c13a3-d26c-494d-9577-22c5c3f8a804" providerId="ADAL" clId="{B6DF2CCA-3EB3-48F4-8B86-B4169450C8DA}" dt="2024-06-26T05:53:04.509" v="3022"/>
          <ac:spMkLst>
            <pc:docMk/>
            <pc:sldMk cId="3454528477" sldId="279"/>
            <ac:spMk id="8" creationId="{5E838A32-EDD6-FE4D-73F9-B4DF91EA734F}"/>
          </ac:spMkLst>
        </pc:spChg>
        <pc:spChg chg="add del mod modVis">
          <ac:chgData name="Liang Yang" userId="7a7c13a3-d26c-494d-9577-22c5c3f8a804" providerId="ADAL" clId="{B6DF2CCA-3EB3-48F4-8B86-B4169450C8DA}" dt="2024-06-26T05:53:04.775" v="3052"/>
          <ac:spMkLst>
            <pc:docMk/>
            <pc:sldMk cId="3454528477" sldId="279"/>
            <ac:spMk id="9" creationId="{F7BA942D-3CF7-8D2A-63A8-32D9EE1690A9}"/>
          </ac:spMkLst>
        </pc:spChg>
        <pc:spChg chg="add del mod modVis">
          <ac:chgData name="Liang Yang" userId="7a7c13a3-d26c-494d-9577-22c5c3f8a804" providerId="ADAL" clId="{B6DF2CCA-3EB3-48F4-8B86-B4169450C8DA}" dt="2024-06-26T05:53:05.415" v="3081"/>
          <ac:spMkLst>
            <pc:docMk/>
            <pc:sldMk cId="3454528477" sldId="279"/>
            <ac:spMk id="10" creationId="{433D46C6-5019-EA44-48B4-9BD6ECC82363}"/>
          </ac:spMkLst>
        </pc:spChg>
        <pc:spChg chg="add del mod modVis">
          <ac:chgData name="Liang Yang" userId="7a7c13a3-d26c-494d-9577-22c5c3f8a804" providerId="ADAL" clId="{B6DF2CCA-3EB3-48F4-8B86-B4169450C8DA}" dt="2024-06-26T05:53:06.947" v="3115"/>
          <ac:spMkLst>
            <pc:docMk/>
            <pc:sldMk cId="3454528477" sldId="279"/>
            <ac:spMk id="11" creationId="{AC1C2D54-DF80-A91C-FD84-D35F300650F0}"/>
          </ac:spMkLst>
        </pc:spChg>
        <pc:spChg chg="add del mod modVis">
          <ac:chgData name="Liang Yang" userId="7a7c13a3-d26c-494d-9577-22c5c3f8a804" providerId="ADAL" clId="{B6DF2CCA-3EB3-48F4-8B86-B4169450C8DA}" dt="2024-06-26T16:22:35.816" v="5373"/>
          <ac:spMkLst>
            <pc:docMk/>
            <pc:sldMk cId="3454528477" sldId="279"/>
            <ac:spMk id="14" creationId="{51FBAC2E-CBB1-6BA3-B323-24C7FE964360}"/>
          </ac:spMkLst>
        </pc:spChg>
        <pc:spChg chg="add del mod modVis">
          <ac:chgData name="Liang Yang" userId="7a7c13a3-d26c-494d-9577-22c5c3f8a804" providerId="ADAL" clId="{B6DF2CCA-3EB3-48F4-8B86-B4169450C8DA}" dt="2024-06-26T16:22:36.572" v="5403"/>
          <ac:spMkLst>
            <pc:docMk/>
            <pc:sldMk cId="3454528477" sldId="279"/>
            <ac:spMk id="15" creationId="{049C9BDC-372D-1324-4613-97CC296CFACA}"/>
          </ac:spMkLst>
        </pc:spChg>
        <pc:spChg chg="add del mod modVis">
          <ac:chgData name="Liang Yang" userId="7a7c13a3-d26c-494d-9577-22c5c3f8a804" providerId="ADAL" clId="{B6DF2CCA-3EB3-48F4-8B86-B4169450C8DA}" dt="2024-06-26T16:22:38.774" v="5442"/>
          <ac:spMkLst>
            <pc:docMk/>
            <pc:sldMk cId="3454528477" sldId="279"/>
            <ac:spMk id="16" creationId="{ABCE8078-6C54-4D8F-78D6-291EFBA3F84B}"/>
          </ac:spMkLst>
        </pc:spChg>
        <pc:spChg chg="add del mod modVis">
          <ac:chgData name="Liang Yang" userId="7a7c13a3-d26c-494d-9577-22c5c3f8a804" providerId="ADAL" clId="{B6DF2CCA-3EB3-48F4-8B86-B4169450C8DA}" dt="2024-06-26T16:22:43.169" v="5472"/>
          <ac:spMkLst>
            <pc:docMk/>
            <pc:sldMk cId="3454528477" sldId="279"/>
            <ac:spMk id="17" creationId="{2F15F57A-0298-1C4F-71A2-E3E7FCB22893}"/>
          </ac:spMkLst>
        </pc:spChg>
        <pc:spChg chg="add del mod modVis">
          <ac:chgData name="Liang Yang" userId="7a7c13a3-d26c-494d-9577-22c5c3f8a804" providerId="ADAL" clId="{B6DF2CCA-3EB3-48F4-8B86-B4169450C8DA}" dt="2024-06-26T16:23:02.733" v="5526" actId="962"/>
          <ac:spMkLst>
            <pc:docMk/>
            <pc:sldMk cId="3454528477" sldId="279"/>
            <ac:spMk id="18" creationId="{1EB59C70-9072-EF58-7450-840DAAC43BC0}"/>
          </ac:spMkLst>
        </pc:spChg>
        <pc:spChg chg="add del mod modVis">
          <ac:chgData name="Liang Yang" userId="7a7c13a3-d26c-494d-9577-22c5c3f8a804" providerId="ADAL" clId="{B6DF2CCA-3EB3-48F4-8B86-B4169450C8DA}" dt="2024-06-26T16:23:05.553" v="5559"/>
          <ac:spMkLst>
            <pc:docMk/>
            <pc:sldMk cId="3454528477" sldId="279"/>
            <ac:spMk id="19" creationId="{E0A1D867-5E70-89DF-9A16-324549191578}"/>
          </ac:spMkLst>
        </pc:spChg>
        <pc:spChg chg="add del mod modVis">
          <ac:chgData name="Liang Yang" userId="7a7c13a3-d26c-494d-9577-22c5c3f8a804" providerId="ADAL" clId="{B6DF2CCA-3EB3-48F4-8B86-B4169450C8DA}" dt="2024-06-26T16:23:06.986" v="5590"/>
          <ac:spMkLst>
            <pc:docMk/>
            <pc:sldMk cId="3454528477" sldId="279"/>
            <ac:spMk id="20" creationId="{B0294FF3-4A05-073D-3D75-007CB5E8C23C}"/>
          </ac:spMkLst>
        </pc:spChg>
        <pc:spChg chg="add del mod modVis">
          <ac:chgData name="Liang Yang" userId="7a7c13a3-d26c-494d-9577-22c5c3f8a804" providerId="ADAL" clId="{B6DF2CCA-3EB3-48F4-8B86-B4169450C8DA}" dt="2024-06-26T16:23:07.915" v="5620"/>
          <ac:spMkLst>
            <pc:docMk/>
            <pc:sldMk cId="3454528477" sldId="279"/>
            <ac:spMk id="21" creationId="{5DFD48BC-253C-FF14-990A-7DADEC82143B}"/>
          </ac:spMkLst>
        </pc:spChg>
        <pc:spChg chg="add del mod modVis">
          <ac:chgData name="Liang Yang" userId="7a7c13a3-d26c-494d-9577-22c5c3f8a804" providerId="ADAL" clId="{B6DF2CCA-3EB3-48F4-8B86-B4169450C8DA}" dt="2024-06-26T16:23:39.742" v="5652"/>
          <ac:spMkLst>
            <pc:docMk/>
            <pc:sldMk cId="3454528477" sldId="279"/>
            <ac:spMk id="22" creationId="{C8B10A65-3247-89E8-519E-52F9CB369CDB}"/>
          </ac:spMkLst>
        </pc:spChg>
        <pc:spChg chg="add del mod modVis">
          <ac:chgData name="Liang Yang" userId="7a7c13a3-d26c-494d-9577-22c5c3f8a804" providerId="ADAL" clId="{B6DF2CCA-3EB3-48F4-8B86-B4169450C8DA}" dt="2024-06-26T16:23:41.459" v="5687"/>
          <ac:spMkLst>
            <pc:docMk/>
            <pc:sldMk cId="3454528477" sldId="279"/>
            <ac:spMk id="23" creationId="{89BDC67E-300D-CFE0-B5F8-1A4C32FB3B91}"/>
          </ac:spMkLst>
        </pc:spChg>
        <pc:spChg chg="add del mod modVis">
          <ac:chgData name="Liang Yang" userId="7a7c13a3-d26c-494d-9577-22c5c3f8a804" providerId="ADAL" clId="{B6DF2CCA-3EB3-48F4-8B86-B4169450C8DA}" dt="2024-06-26T16:23:42.547" v="5716"/>
          <ac:spMkLst>
            <pc:docMk/>
            <pc:sldMk cId="3454528477" sldId="279"/>
            <ac:spMk id="24" creationId="{F07640B0-A456-69F0-FA22-E65406AA841A}"/>
          </ac:spMkLst>
        </pc:spChg>
        <pc:spChg chg="add del mod modVis">
          <ac:chgData name="Liang Yang" userId="7a7c13a3-d26c-494d-9577-22c5c3f8a804" providerId="ADAL" clId="{B6DF2CCA-3EB3-48F4-8B86-B4169450C8DA}" dt="2024-06-26T16:23:44.073" v="5748"/>
          <ac:spMkLst>
            <pc:docMk/>
            <pc:sldMk cId="3454528477" sldId="279"/>
            <ac:spMk id="25" creationId="{DEB1D9CB-235F-184C-28AF-822F4CD9C871}"/>
          </ac:spMkLst>
        </pc:spChg>
        <pc:spChg chg="add del mod modVis">
          <ac:chgData name="Liang Yang" userId="7a7c13a3-d26c-494d-9577-22c5c3f8a804" providerId="ADAL" clId="{B6DF2CCA-3EB3-48F4-8B86-B4169450C8DA}" dt="2024-06-26T16:23:45.018" v="5778"/>
          <ac:spMkLst>
            <pc:docMk/>
            <pc:sldMk cId="3454528477" sldId="279"/>
            <ac:spMk id="26" creationId="{C3F50F12-C45F-2D55-DE11-EF1394017C0A}"/>
          </ac:spMkLst>
        </pc:spChg>
        <pc:spChg chg="add del mod modVis">
          <ac:chgData name="Liang Yang" userId="7a7c13a3-d26c-494d-9577-22c5c3f8a804" providerId="ADAL" clId="{B6DF2CCA-3EB3-48F4-8B86-B4169450C8DA}" dt="2024-06-26T16:23:45.900" v="5809"/>
          <ac:spMkLst>
            <pc:docMk/>
            <pc:sldMk cId="3454528477" sldId="279"/>
            <ac:spMk id="27" creationId="{DEA06DFD-CBDE-7E71-0628-5ACEE44F52EB}"/>
          </ac:spMkLst>
        </pc:spChg>
        <pc:spChg chg="add del mod modVis">
          <ac:chgData name="Liang Yang" userId="7a7c13a3-d26c-494d-9577-22c5c3f8a804" providerId="ADAL" clId="{B6DF2CCA-3EB3-48F4-8B86-B4169450C8DA}" dt="2024-06-26T16:23:47.698" v="5838"/>
          <ac:spMkLst>
            <pc:docMk/>
            <pc:sldMk cId="3454528477" sldId="279"/>
            <ac:spMk id="28" creationId="{0655185B-4296-D678-2A6F-F8FE2B3829E7}"/>
          </ac:spMkLst>
        </pc:spChg>
        <pc:spChg chg="add del mod modVis">
          <ac:chgData name="Liang Yang" userId="7a7c13a3-d26c-494d-9577-22c5c3f8a804" providerId="ADAL" clId="{B6DF2CCA-3EB3-48F4-8B86-B4169450C8DA}" dt="2024-06-26T16:23:48.969" v="5872"/>
          <ac:spMkLst>
            <pc:docMk/>
            <pc:sldMk cId="3454528477" sldId="279"/>
            <ac:spMk id="29" creationId="{813FC07B-E463-124D-EC38-B1D2C2E4305E}"/>
          </ac:spMkLst>
        </pc:spChg>
        <pc:spChg chg="add del mod modVis">
          <ac:chgData name="Liang Yang" userId="7a7c13a3-d26c-494d-9577-22c5c3f8a804" providerId="ADAL" clId="{B6DF2CCA-3EB3-48F4-8B86-B4169450C8DA}" dt="2024-06-26T16:23:51.629" v="5907"/>
          <ac:spMkLst>
            <pc:docMk/>
            <pc:sldMk cId="3454528477" sldId="279"/>
            <ac:spMk id="30" creationId="{673D0A2E-2463-8684-E91F-9E483FFB67E4}"/>
          </ac:spMkLst>
        </pc:spChg>
        <pc:spChg chg="add del mod modVis">
          <ac:chgData name="Liang Yang" userId="7a7c13a3-d26c-494d-9577-22c5c3f8a804" providerId="ADAL" clId="{B6DF2CCA-3EB3-48F4-8B86-B4169450C8DA}" dt="2024-06-26T16:23:52.574" v="5936"/>
          <ac:spMkLst>
            <pc:docMk/>
            <pc:sldMk cId="3454528477" sldId="279"/>
            <ac:spMk id="31" creationId="{973F9287-A725-E05A-B431-69CD0ADB6FF3}"/>
          </ac:spMkLst>
        </pc:spChg>
        <pc:spChg chg="add del mod modVis">
          <ac:chgData name="Liang Yang" userId="7a7c13a3-d26c-494d-9577-22c5c3f8a804" providerId="ADAL" clId="{B6DF2CCA-3EB3-48F4-8B86-B4169450C8DA}" dt="2024-06-26T16:24:22.189" v="5978"/>
          <ac:spMkLst>
            <pc:docMk/>
            <pc:sldMk cId="3454528477" sldId="279"/>
            <ac:spMk id="32" creationId="{8DD82525-0FA5-4DDD-716C-ABFCB50B53BD}"/>
          </ac:spMkLst>
        </pc:spChg>
        <pc:spChg chg="add del mod modVis">
          <ac:chgData name="Liang Yang" userId="7a7c13a3-d26c-494d-9577-22c5c3f8a804" providerId="ADAL" clId="{B6DF2CCA-3EB3-48F4-8B86-B4169450C8DA}" dt="2024-06-26T16:24:25.592" v="6007"/>
          <ac:spMkLst>
            <pc:docMk/>
            <pc:sldMk cId="3454528477" sldId="279"/>
            <ac:spMk id="33" creationId="{09A1686B-30FF-CB82-7A09-065557424136}"/>
          </ac:spMkLst>
        </pc:spChg>
        <pc:spChg chg="add del mod modVis">
          <ac:chgData name="Liang Yang" userId="7a7c13a3-d26c-494d-9577-22c5c3f8a804" providerId="ADAL" clId="{B6DF2CCA-3EB3-48F4-8B86-B4169450C8DA}" dt="2024-06-26T16:24:26.362" v="6036"/>
          <ac:spMkLst>
            <pc:docMk/>
            <pc:sldMk cId="3454528477" sldId="279"/>
            <ac:spMk id="34" creationId="{F9A7C395-9632-BBFE-7692-20DE39EB1548}"/>
          </ac:spMkLst>
        </pc:spChg>
        <pc:spChg chg="add del mod modVis">
          <ac:chgData name="Liang Yang" userId="7a7c13a3-d26c-494d-9577-22c5c3f8a804" providerId="ADAL" clId="{B6DF2CCA-3EB3-48F4-8B86-B4169450C8DA}" dt="2024-06-26T16:24:46.453" v="6066"/>
          <ac:spMkLst>
            <pc:docMk/>
            <pc:sldMk cId="3454528477" sldId="279"/>
            <ac:spMk id="35" creationId="{09BC1A39-5B66-02F6-FF33-CFFC0DD78A8B}"/>
          </ac:spMkLst>
        </pc:spChg>
        <pc:spChg chg="add del mod modVis">
          <ac:chgData name="Liang Yang" userId="7a7c13a3-d26c-494d-9577-22c5c3f8a804" providerId="ADAL" clId="{B6DF2CCA-3EB3-48F4-8B86-B4169450C8DA}" dt="2024-06-26T16:24:47.427" v="6097"/>
          <ac:spMkLst>
            <pc:docMk/>
            <pc:sldMk cId="3454528477" sldId="279"/>
            <ac:spMk id="36" creationId="{B8EE1122-3C69-9746-96F4-905DD39C7D00}"/>
          </ac:spMkLst>
        </pc:spChg>
        <pc:spChg chg="add del mod modVis">
          <ac:chgData name="Liang Yang" userId="7a7c13a3-d26c-494d-9577-22c5c3f8a804" providerId="ADAL" clId="{B6DF2CCA-3EB3-48F4-8B86-B4169450C8DA}" dt="2024-06-26T16:24:49.271" v="6131"/>
          <ac:spMkLst>
            <pc:docMk/>
            <pc:sldMk cId="3454528477" sldId="279"/>
            <ac:spMk id="37" creationId="{4A854298-AD54-6CD8-E34C-30799FFD0ADF}"/>
          </ac:spMkLst>
        </pc:spChg>
        <pc:spChg chg="add del mod modVis">
          <ac:chgData name="Liang Yang" userId="7a7c13a3-d26c-494d-9577-22c5c3f8a804" providerId="ADAL" clId="{B6DF2CCA-3EB3-48F4-8B86-B4169450C8DA}" dt="2024-06-26T16:24:52.438" v="6163"/>
          <ac:spMkLst>
            <pc:docMk/>
            <pc:sldMk cId="3454528477" sldId="279"/>
            <ac:spMk id="38" creationId="{819D93D3-C710-1086-629D-F98CD734E36F}"/>
          </ac:spMkLst>
        </pc:spChg>
        <pc:spChg chg="add del mod modVis">
          <ac:chgData name="Liang Yang" userId="7a7c13a3-d26c-494d-9577-22c5c3f8a804" providerId="ADAL" clId="{B6DF2CCA-3EB3-48F4-8B86-B4169450C8DA}" dt="2024-06-26T16:24:53.933" v="6196"/>
          <ac:spMkLst>
            <pc:docMk/>
            <pc:sldMk cId="3454528477" sldId="279"/>
            <ac:spMk id="39" creationId="{BFD5D849-544E-6CDC-B273-197AACE3758D}"/>
          </ac:spMkLst>
        </pc:spChg>
        <pc:spChg chg="add del mod modVis">
          <ac:chgData name="Liang Yang" userId="7a7c13a3-d26c-494d-9577-22c5c3f8a804" providerId="ADAL" clId="{B6DF2CCA-3EB3-48F4-8B86-B4169450C8DA}" dt="2024-06-26T16:24:56.450" v="6225"/>
          <ac:spMkLst>
            <pc:docMk/>
            <pc:sldMk cId="3454528477" sldId="279"/>
            <ac:spMk id="40" creationId="{B0C63DC8-470C-6917-1EDF-522350284F5B}"/>
          </ac:spMkLst>
        </pc:spChg>
        <pc:spChg chg="add del mod modVis">
          <ac:chgData name="Liang Yang" userId="7a7c13a3-d26c-494d-9577-22c5c3f8a804" providerId="ADAL" clId="{B6DF2CCA-3EB3-48F4-8B86-B4169450C8DA}" dt="2024-06-26T16:25:06.252" v="6268"/>
          <ac:spMkLst>
            <pc:docMk/>
            <pc:sldMk cId="3454528477" sldId="279"/>
            <ac:spMk id="41" creationId="{13692B8C-A683-6F79-A63E-9EE568C70612}"/>
          </ac:spMkLst>
        </pc:spChg>
        <pc:spChg chg="add del mod modVis">
          <ac:chgData name="Liang Yang" userId="7a7c13a3-d26c-494d-9577-22c5c3f8a804" providerId="ADAL" clId="{B6DF2CCA-3EB3-48F4-8B86-B4169450C8DA}" dt="2024-06-26T16:25:08.706" v="6309"/>
          <ac:spMkLst>
            <pc:docMk/>
            <pc:sldMk cId="3454528477" sldId="279"/>
            <ac:spMk id="42" creationId="{6BA988CD-5081-80FB-190F-336F2F3DFA54}"/>
          </ac:spMkLst>
        </pc:spChg>
        <pc:spChg chg="add del mod modVis">
          <ac:chgData name="Liang Yang" userId="7a7c13a3-d26c-494d-9577-22c5c3f8a804" providerId="ADAL" clId="{B6DF2CCA-3EB3-48F4-8B86-B4169450C8DA}" dt="2024-06-26T16:25:22.073" v="6339"/>
          <ac:spMkLst>
            <pc:docMk/>
            <pc:sldMk cId="3454528477" sldId="279"/>
            <ac:spMk id="43" creationId="{6FDF3D9D-9D12-7268-EEC2-2B9137847D02}"/>
          </ac:spMkLst>
        </pc:spChg>
        <pc:spChg chg="add del mod modVis">
          <ac:chgData name="Liang Yang" userId="7a7c13a3-d26c-494d-9577-22c5c3f8a804" providerId="ADAL" clId="{B6DF2CCA-3EB3-48F4-8B86-B4169450C8DA}" dt="2024-06-26T16:25:23.503" v="6375"/>
          <ac:spMkLst>
            <pc:docMk/>
            <pc:sldMk cId="3454528477" sldId="279"/>
            <ac:spMk id="44" creationId="{A1EDA558-4A07-568A-CA19-A69A3A6834F7}"/>
          </ac:spMkLst>
        </pc:spChg>
        <pc:spChg chg="add del mod modVis">
          <ac:chgData name="Liang Yang" userId="7a7c13a3-d26c-494d-9577-22c5c3f8a804" providerId="ADAL" clId="{B6DF2CCA-3EB3-48F4-8B86-B4169450C8DA}" dt="2024-06-26T16:25:26.649" v="6416"/>
          <ac:spMkLst>
            <pc:docMk/>
            <pc:sldMk cId="3454528477" sldId="279"/>
            <ac:spMk id="45" creationId="{3DE4DB6A-BFB8-4EF1-70D2-9ED3AABB0640}"/>
          </ac:spMkLst>
        </pc:spChg>
        <pc:spChg chg="add del mod modVis">
          <ac:chgData name="Liang Yang" userId="7a7c13a3-d26c-494d-9577-22c5c3f8a804" providerId="ADAL" clId="{B6DF2CCA-3EB3-48F4-8B86-B4169450C8DA}" dt="2024-06-26T16:25:28.465" v="6449"/>
          <ac:spMkLst>
            <pc:docMk/>
            <pc:sldMk cId="3454528477" sldId="279"/>
            <ac:spMk id="46" creationId="{7288FB06-0A9D-FE0B-A24E-50A201828481}"/>
          </ac:spMkLst>
        </pc:spChg>
        <pc:spChg chg="add del mod modVis">
          <ac:chgData name="Liang Yang" userId="7a7c13a3-d26c-494d-9577-22c5c3f8a804" providerId="ADAL" clId="{B6DF2CCA-3EB3-48F4-8B86-B4169450C8DA}" dt="2024-06-26T16:25:29.802" v="6482"/>
          <ac:spMkLst>
            <pc:docMk/>
            <pc:sldMk cId="3454528477" sldId="279"/>
            <ac:spMk id="47" creationId="{5BFE0E3A-A9AB-9947-45F6-9DE3D81700E4}"/>
          </ac:spMkLst>
        </pc:spChg>
        <pc:spChg chg="add del mod modVis">
          <ac:chgData name="Liang Yang" userId="7a7c13a3-d26c-494d-9577-22c5c3f8a804" providerId="ADAL" clId="{B6DF2CCA-3EB3-48F4-8B86-B4169450C8DA}" dt="2024-06-26T16:25:31.264" v="6519"/>
          <ac:spMkLst>
            <pc:docMk/>
            <pc:sldMk cId="3454528477" sldId="279"/>
            <ac:spMk id="48" creationId="{FDFCAC76-7481-4060-51C3-A605E96B5A97}"/>
          </ac:spMkLst>
        </pc:spChg>
        <pc:spChg chg="add del mod modVis">
          <ac:chgData name="Liang Yang" userId="7a7c13a3-d26c-494d-9577-22c5c3f8a804" providerId="ADAL" clId="{B6DF2CCA-3EB3-48F4-8B86-B4169450C8DA}" dt="2024-06-26T16:25:41.645" v="6550"/>
          <ac:spMkLst>
            <pc:docMk/>
            <pc:sldMk cId="3454528477" sldId="279"/>
            <ac:spMk id="49" creationId="{411AD22F-8FD9-6120-1D63-33218F37DD63}"/>
          </ac:spMkLst>
        </pc:spChg>
        <pc:spChg chg="add del mod modVis">
          <ac:chgData name="Liang Yang" userId="7a7c13a3-d26c-494d-9577-22c5c3f8a804" providerId="ADAL" clId="{B6DF2CCA-3EB3-48F4-8B86-B4169450C8DA}" dt="2024-06-26T16:25:43.158" v="6584"/>
          <ac:spMkLst>
            <pc:docMk/>
            <pc:sldMk cId="3454528477" sldId="279"/>
            <ac:spMk id="50" creationId="{658BA356-97BE-0C08-323B-2E06D95B9326}"/>
          </ac:spMkLst>
        </pc:spChg>
        <pc:spChg chg="add del mod modVis">
          <ac:chgData name="Liang Yang" userId="7a7c13a3-d26c-494d-9577-22c5c3f8a804" providerId="ADAL" clId="{B6DF2CCA-3EB3-48F4-8B86-B4169450C8DA}" dt="2024-06-26T16:25:44.041" v="6615"/>
          <ac:spMkLst>
            <pc:docMk/>
            <pc:sldMk cId="3454528477" sldId="279"/>
            <ac:spMk id="51" creationId="{A6322094-218F-8FEC-FDF1-4AE9B6275E74}"/>
          </ac:spMkLst>
        </pc:spChg>
        <pc:spChg chg="add mod">
          <ac:chgData name="Liang Yang" userId="7a7c13a3-d26c-494d-9577-22c5c3f8a804" providerId="ADAL" clId="{B6DF2CCA-3EB3-48F4-8B86-B4169450C8DA}" dt="2024-06-26T18:05:47.761" v="8786" actId="115"/>
          <ac:spMkLst>
            <pc:docMk/>
            <pc:sldMk cId="3454528477" sldId="279"/>
            <ac:spMk id="53" creationId="{105C9F2E-C3F7-4726-208D-6E42B35B3227}"/>
          </ac:spMkLst>
        </pc:spChg>
        <pc:spChg chg="add del mod modVis">
          <ac:chgData name="Liang Yang" userId="7a7c13a3-d26c-494d-9577-22c5c3f8a804" providerId="ADAL" clId="{B6DF2CCA-3EB3-48F4-8B86-B4169450C8DA}" dt="2024-06-26T17:19:40.259" v="8094"/>
          <ac:spMkLst>
            <pc:docMk/>
            <pc:sldMk cId="3454528477" sldId="279"/>
            <ac:spMk id="54" creationId="{ABE3E17E-07BE-848A-6878-00BB275FD400}"/>
          </ac:spMkLst>
        </pc:spChg>
        <pc:spChg chg="add del mod modVis">
          <ac:chgData name="Liang Yang" userId="7a7c13a3-d26c-494d-9577-22c5c3f8a804" providerId="ADAL" clId="{B6DF2CCA-3EB3-48F4-8B86-B4169450C8DA}" dt="2024-06-26T17:19:42.102" v="8124"/>
          <ac:spMkLst>
            <pc:docMk/>
            <pc:sldMk cId="3454528477" sldId="279"/>
            <ac:spMk id="55" creationId="{4705F1E5-72B9-2051-D4B9-5E9AA005EAD2}"/>
          </ac:spMkLst>
        </pc:spChg>
        <pc:spChg chg="add del mod modVis">
          <ac:chgData name="Liang Yang" userId="7a7c13a3-d26c-494d-9577-22c5c3f8a804" providerId="ADAL" clId="{B6DF2CCA-3EB3-48F4-8B86-B4169450C8DA}" dt="2024-06-26T17:19:44.931" v="8159"/>
          <ac:spMkLst>
            <pc:docMk/>
            <pc:sldMk cId="3454528477" sldId="279"/>
            <ac:spMk id="56" creationId="{DBC187A0-DFF1-1DC9-2974-B39134118F00}"/>
          </ac:spMkLst>
        </pc:spChg>
        <pc:graphicFrameChg chg="mod">
          <ac:chgData name="Liang Yang" userId="7a7c13a3-d26c-494d-9577-22c5c3f8a804" providerId="ADAL" clId="{B6DF2CCA-3EB3-48F4-8B86-B4169450C8DA}" dt="2024-06-26T17:19:44.931" v="8161"/>
          <ac:graphicFrameMkLst>
            <pc:docMk/>
            <pc:sldMk cId="3454528477" sldId="279"/>
            <ac:graphicFrameMk id="5" creationId="{C6112179-68C2-DCF3-BF3D-B38605D02DE1}"/>
          </ac:graphicFrameMkLst>
        </pc:graphicFrameChg>
        <pc:picChg chg="add mod">
          <ac:chgData name="Liang Yang" userId="7a7c13a3-d26c-494d-9577-22c5c3f8a804" providerId="ADAL" clId="{B6DF2CCA-3EB3-48F4-8B86-B4169450C8DA}" dt="2024-06-26T17:06:21.339" v="7074" actId="1076"/>
          <ac:picMkLst>
            <pc:docMk/>
            <pc:sldMk cId="3454528477" sldId="279"/>
            <ac:picMk id="13" creationId="{36B76B87-B8CB-6DE5-D9D5-A90DC9FBB7A9}"/>
          </ac:picMkLst>
        </pc:picChg>
      </pc:sldChg>
    </pc:docChg>
  </pc:docChgLst>
  <pc:docChgLst>
    <pc:chgData name="Liang Yang" userId="7a7c13a3-d26c-494d-9577-22c5c3f8a804" providerId="ADAL" clId="{5563A8B3-E762-284D-A9AF-6F8879B1C7C3}"/>
    <pc:docChg chg="undo custSel addSld delSld modSld replTag">
      <pc:chgData name="Liang Yang" userId="7a7c13a3-d26c-494d-9577-22c5c3f8a804" providerId="ADAL" clId="{5563A8B3-E762-284D-A9AF-6F8879B1C7C3}" dt="2024-05-14T06:34:48.092" v="11643" actId="20577"/>
      <pc:docMkLst>
        <pc:docMk/>
      </pc:docMkLst>
      <pc:sldChg chg="addSp delSp modSp mod">
        <pc:chgData name="Liang Yang" userId="7a7c13a3-d26c-494d-9577-22c5c3f8a804" providerId="ADAL" clId="{5563A8B3-E762-284D-A9AF-6F8879B1C7C3}" dt="2024-05-14T04:24:36.193" v="2819" actId="1037"/>
        <pc:sldMkLst>
          <pc:docMk/>
          <pc:sldMk cId="2599966740" sldId="257"/>
        </pc:sldMkLst>
        <pc:spChg chg="mod">
          <ac:chgData name="Liang Yang" userId="7a7c13a3-d26c-494d-9577-22c5c3f8a804" providerId="ADAL" clId="{5563A8B3-E762-284D-A9AF-6F8879B1C7C3}" dt="2024-05-14T04:01:20.385" v="2431" actId="948"/>
          <ac:spMkLst>
            <pc:docMk/>
            <pc:sldMk cId="2599966740" sldId="257"/>
            <ac:spMk id="2" creationId="{CBADF92F-4066-F747-AAEF-597A8340E927}"/>
          </ac:spMkLst>
        </pc:spChg>
        <pc:spChg chg="add del mod modVis">
          <ac:chgData name="Liang Yang" userId="7a7c13a3-d26c-494d-9577-22c5c3f8a804" providerId="ADAL" clId="{5563A8B3-E762-284D-A9AF-6F8879B1C7C3}" dt="2024-05-14T04:01:20.469" v="2476"/>
          <ac:spMkLst>
            <pc:docMk/>
            <pc:sldMk cId="2599966740" sldId="257"/>
            <ac:spMk id="3" creationId="{E4924157-5947-8B1E-71FF-06F141DCA066}"/>
          </ac:spMkLst>
        </pc:spChg>
        <pc:graphicFrameChg chg="mod">
          <ac:chgData name="Liang Yang" userId="7a7c13a3-d26c-494d-9577-22c5c3f8a804" providerId="ADAL" clId="{5563A8B3-E762-284D-A9AF-6F8879B1C7C3}" dt="2024-05-14T04:01:20.472" v="2478"/>
          <ac:graphicFrameMkLst>
            <pc:docMk/>
            <pc:sldMk cId="2599966740" sldId="257"/>
            <ac:graphicFrameMk id="4" creationId="{B0DF492E-9842-C18F-58FA-A416AC8482E4}"/>
          </ac:graphicFrameMkLst>
        </pc:graphicFrameChg>
        <pc:picChg chg="mod">
          <ac:chgData name="Liang Yang" userId="7a7c13a3-d26c-494d-9577-22c5c3f8a804" providerId="ADAL" clId="{5563A8B3-E762-284D-A9AF-6F8879B1C7C3}" dt="2024-05-14T04:24:36.193" v="2819" actId="1037"/>
          <ac:picMkLst>
            <pc:docMk/>
            <pc:sldMk cId="2599966740" sldId="257"/>
            <ac:picMk id="45" creationId="{4505C6D1-3C65-C068-2218-17A0CC896C66}"/>
          </ac:picMkLst>
        </pc:picChg>
      </pc:sldChg>
      <pc:sldChg chg="addSp delSp modSp mod">
        <pc:chgData name="Liang Yang" userId="7a7c13a3-d26c-494d-9577-22c5c3f8a804" providerId="ADAL" clId="{5563A8B3-E762-284D-A9AF-6F8879B1C7C3}" dt="2024-05-14T06:04:44.848" v="9806" actId="1038"/>
        <pc:sldMkLst>
          <pc:docMk/>
          <pc:sldMk cId="628374823" sldId="264"/>
        </pc:sldMkLst>
        <pc:spChg chg="mod">
          <ac:chgData name="Liang Yang" userId="7a7c13a3-d26c-494d-9577-22c5c3f8a804" providerId="ADAL" clId="{5563A8B3-E762-284D-A9AF-6F8879B1C7C3}" dt="2024-05-14T06:04:17.683" v="9793"/>
          <ac:spMkLst>
            <pc:docMk/>
            <pc:sldMk cId="628374823" sldId="264"/>
            <ac:spMk id="2" creationId="{190C47B4-A196-DC50-2C83-9E3B6718CD8B}"/>
          </ac:spMkLst>
        </pc:spChg>
        <pc:spChg chg="add del mod modVis">
          <ac:chgData name="Liang Yang" userId="7a7c13a3-d26c-494d-9577-22c5c3f8a804" providerId="ADAL" clId="{5563A8B3-E762-284D-A9AF-6F8879B1C7C3}" dt="2024-05-14T05:43:52.672" v="7643"/>
          <ac:spMkLst>
            <pc:docMk/>
            <pc:sldMk cId="628374823" sldId="264"/>
            <ac:spMk id="3" creationId="{72881010-1EC8-55C0-8A11-D9F107AF302C}"/>
          </ac:spMkLst>
        </pc:spChg>
        <pc:spChg chg="add del mod modVis">
          <ac:chgData name="Liang Yang" userId="7a7c13a3-d26c-494d-9577-22c5c3f8a804" providerId="ADAL" clId="{5563A8B3-E762-284D-A9AF-6F8879B1C7C3}" dt="2024-05-14T05:44:02.041" v="7713"/>
          <ac:spMkLst>
            <pc:docMk/>
            <pc:sldMk cId="628374823" sldId="264"/>
            <ac:spMk id="4" creationId="{E0BBF5A0-9380-C720-69E2-15D7366600EC}"/>
          </ac:spMkLst>
        </pc:spChg>
        <pc:spChg chg="add del mod modVis">
          <ac:chgData name="Liang Yang" userId="7a7c13a3-d26c-494d-9577-22c5c3f8a804" providerId="ADAL" clId="{5563A8B3-E762-284D-A9AF-6F8879B1C7C3}" dt="2024-05-14T05:44:06.989" v="7766"/>
          <ac:spMkLst>
            <pc:docMk/>
            <pc:sldMk cId="628374823" sldId="264"/>
            <ac:spMk id="6" creationId="{9330FD74-70FC-3BC9-7F69-C93AA012E2B8}"/>
          </ac:spMkLst>
        </pc:spChg>
        <pc:spChg chg="add del mod modVis">
          <ac:chgData name="Liang Yang" userId="7a7c13a3-d26c-494d-9577-22c5c3f8a804" providerId="ADAL" clId="{5563A8B3-E762-284D-A9AF-6F8879B1C7C3}" dt="2024-05-14T05:44:09.068" v="7798"/>
          <ac:spMkLst>
            <pc:docMk/>
            <pc:sldMk cId="628374823" sldId="264"/>
            <ac:spMk id="7" creationId="{B57AD9DF-0774-7587-C7B6-1DC91A33C423}"/>
          </ac:spMkLst>
        </pc:spChg>
        <pc:spChg chg="add del mod modVis">
          <ac:chgData name="Liang Yang" userId="7a7c13a3-d26c-494d-9577-22c5c3f8a804" providerId="ADAL" clId="{5563A8B3-E762-284D-A9AF-6F8879B1C7C3}" dt="2024-05-14T05:44:10.570" v="7833"/>
          <ac:spMkLst>
            <pc:docMk/>
            <pc:sldMk cId="628374823" sldId="264"/>
            <ac:spMk id="8" creationId="{1B32E16B-E47A-D7B8-C4D5-A39C2D4A82F3}"/>
          </ac:spMkLst>
        </pc:spChg>
        <pc:spChg chg="add del mod modVis">
          <ac:chgData name="Liang Yang" userId="7a7c13a3-d26c-494d-9577-22c5c3f8a804" providerId="ADAL" clId="{5563A8B3-E762-284D-A9AF-6F8879B1C7C3}" dt="2024-05-14T05:44:12.531" v="7874"/>
          <ac:spMkLst>
            <pc:docMk/>
            <pc:sldMk cId="628374823" sldId="264"/>
            <ac:spMk id="9" creationId="{47B08F81-75D4-FFEF-48CD-233BB82EC6E4}"/>
          </ac:spMkLst>
        </pc:spChg>
        <pc:spChg chg="add del mod modVis">
          <ac:chgData name="Liang Yang" userId="7a7c13a3-d26c-494d-9577-22c5c3f8a804" providerId="ADAL" clId="{5563A8B3-E762-284D-A9AF-6F8879B1C7C3}" dt="2024-05-14T05:44:12.797" v="7903"/>
          <ac:spMkLst>
            <pc:docMk/>
            <pc:sldMk cId="628374823" sldId="264"/>
            <ac:spMk id="10" creationId="{F3E0890E-0D26-8581-6973-1DDBAE1AFE5E}"/>
          </ac:spMkLst>
        </pc:spChg>
        <pc:spChg chg="add del mod modVis">
          <ac:chgData name="Liang Yang" userId="7a7c13a3-d26c-494d-9577-22c5c3f8a804" providerId="ADAL" clId="{5563A8B3-E762-284D-A9AF-6F8879B1C7C3}" dt="2024-05-14T05:44:13.677" v="7933"/>
          <ac:spMkLst>
            <pc:docMk/>
            <pc:sldMk cId="628374823" sldId="264"/>
            <ac:spMk id="11" creationId="{172221F5-A36A-12D6-1D96-3FF14ECF0615}"/>
          </ac:spMkLst>
        </pc:spChg>
        <pc:spChg chg="add del mod modVis">
          <ac:chgData name="Liang Yang" userId="7a7c13a3-d26c-494d-9577-22c5c3f8a804" providerId="ADAL" clId="{5563A8B3-E762-284D-A9AF-6F8879B1C7C3}" dt="2024-05-14T05:44:14.774" v="7965"/>
          <ac:spMkLst>
            <pc:docMk/>
            <pc:sldMk cId="628374823" sldId="264"/>
            <ac:spMk id="12" creationId="{E97D9595-B8FA-9D29-AB14-F71DE31A89A9}"/>
          </ac:spMkLst>
        </pc:spChg>
        <pc:spChg chg="add del mod modVis">
          <ac:chgData name="Liang Yang" userId="7a7c13a3-d26c-494d-9577-22c5c3f8a804" providerId="ADAL" clId="{5563A8B3-E762-284D-A9AF-6F8879B1C7C3}" dt="2024-05-14T05:44:16.693" v="8001"/>
          <ac:spMkLst>
            <pc:docMk/>
            <pc:sldMk cId="628374823" sldId="264"/>
            <ac:spMk id="13" creationId="{8D39ADF0-5783-3202-FD7E-DF826022F56B}"/>
          </ac:spMkLst>
        </pc:spChg>
        <pc:spChg chg="add del mod modVis">
          <ac:chgData name="Liang Yang" userId="7a7c13a3-d26c-494d-9577-22c5c3f8a804" providerId="ADAL" clId="{5563A8B3-E762-284D-A9AF-6F8879B1C7C3}" dt="2024-05-14T05:44:18.279" v="8034"/>
          <ac:spMkLst>
            <pc:docMk/>
            <pc:sldMk cId="628374823" sldId="264"/>
            <ac:spMk id="14" creationId="{83592C07-DA51-D2E2-211C-93F5BB74818E}"/>
          </ac:spMkLst>
        </pc:spChg>
        <pc:spChg chg="add del mod modVis">
          <ac:chgData name="Liang Yang" userId="7a7c13a3-d26c-494d-9577-22c5c3f8a804" providerId="ADAL" clId="{5563A8B3-E762-284D-A9AF-6F8879B1C7C3}" dt="2024-05-14T05:44:20.675" v="8074"/>
          <ac:spMkLst>
            <pc:docMk/>
            <pc:sldMk cId="628374823" sldId="264"/>
            <ac:spMk id="15" creationId="{FEA42858-88C8-C01C-A882-194B27B3A436}"/>
          </ac:spMkLst>
        </pc:spChg>
        <pc:spChg chg="add del mod modVis">
          <ac:chgData name="Liang Yang" userId="7a7c13a3-d26c-494d-9577-22c5c3f8a804" providerId="ADAL" clId="{5563A8B3-E762-284D-A9AF-6F8879B1C7C3}" dt="2024-05-14T05:44:23.048" v="8113"/>
          <ac:spMkLst>
            <pc:docMk/>
            <pc:sldMk cId="628374823" sldId="264"/>
            <ac:spMk id="16" creationId="{65EDEE8A-ADCF-82EF-170A-E9ECC9A8C678}"/>
          </ac:spMkLst>
        </pc:spChg>
        <pc:spChg chg="del mod">
          <ac:chgData name="Liang Yang" userId="7a7c13a3-d26c-494d-9577-22c5c3f8a804" providerId="ADAL" clId="{5563A8B3-E762-284D-A9AF-6F8879B1C7C3}" dt="2024-05-14T06:02:07.264" v="9717" actId="478"/>
          <ac:spMkLst>
            <pc:docMk/>
            <pc:sldMk cId="628374823" sldId="264"/>
            <ac:spMk id="18" creationId="{51404F7E-1406-F731-49DD-CCA2C2C349A5}"/>
          </ac:spMkLst>
        </pc:spChg>
        <pc:spChg chg="add del mod modVis">
          <ac:chgData name="Liang Yang" userId="7a7c13a3-d26c-494d-9577-22c5c3f8a804" providerId="ADAL" clId="{5563A8B3-E762-284D-A9AF-6F8879B1C7C3}" dt="2024-05-14T05:44:23.439" v="8143"/>
          <ac:spMkLst>
            <pc:docMk/>
            <pc:sldMk cId="628374823" sldId="264"/>
            <ac:spMk id="19" creationId="{75E77C11-0998-34EA-A5A9-10D019222A2A}"/>
          </ac:spMkLst>
        </pc:spChg>
        <pc:spChg chg="del mod">
          <ac:chgData name="Liang Yang" userId="7a7c13a3-d26c-494d-9577-22c5c3f8a804" providerId="ADAL" clId="{5563A8B3-E762-284D-A9AF-6F8879B1C7C3}" dt="2024-05-14T06:02:07.264" v="9717" actId="478"/>
          <ac:spMkLst>
            <pc:docMk/>
            <pc:sldMk cId="628374823" sldId="264"/>
            <ac:spMk id="20" creationId="{93BDD155-D56B-5618-48C0-0051F4438B5D}"/>
          </ac:spMkLst>
        </pc:spChg>
        <pc:spChg chg="mod">
          <ac:chgData name="Liang Yang" userId="7a7c13a3-d26c-494d-9577-22c5c3f8a804" providerId="ADAL" clId="{5563A8B3-E762-284D-A9AF-6F8879B1C7C3}" dt="2024-05-14T06:04:44.848" v="9806" actId="1038"/>
          <ac:spMkLst>
            <pc:docMk/>
            <pc:sldMk cId="628374823" sldId="264"/>
            <ac:spMk id="21" creationId="{B61A0AC6-5A15-B627-62A8-F73FFB203945}"/>
          </ac:spMkLst>
        </pc:spChg>
        <pc:spChg chg="add del mod modVis">
          <ac:chgData name="Liang Yang" userId="7a7c13a3-d26c-494d-9577-22c5c3f8a804" providerId="ADAL" clId="{5563A8B3-E762-284D-A9AF-6F8879B1C7C3}" dt="2024-05-14T05:44:24.475" v="8174"/>
          <ac:spMkLst>
            <pc:docMk/>
            <pc:sldMk cId="628374823" sldId="264"/>
            <ac:spMk id="22" creationId="{2116794A-68AC-DA09-5A9A-4F0117C2E22E}"/>
          </ac:spMkLst>
        </pc:spChg>
        <pc:spChg chg="add del mod modVis">
          <ac:chgData name="Liang Yang" userId="7a7c13a3-d26c-494d-9577-22c5c3f8a804" providerId="ADAL" clId="{5563A8B3-E762-284D-A9AF-6F8879B1C7C3}" dt="2024-05-14T05:44:26.163" v="8206"/>
          <ac:spMkLst>
            <pc:docMk/>
            <pc:sldMk cId="628374823" sldId="264"/>
            <ac:spMk id="23" creationId="{32DA275A-7DEF-BD91-7092-E36D4A725C78}"/>
          </ac:spMkLst>
        </pc:spChg>
        <pc:spChg chg="add del mod modVis">
          <ac:chgData name="Liang Yang" userId="7a7c13a3-d26c-494d-9577-22c5c3f8a804" providerId="ADAL" clId="{5563A8B3-E762-284D-A9AF-6F8879B1C7C3}" dt="2024-05-14T05:44:27.045" v="8236"/>
          <ac:spMkLst>
            <pc:docMk/>
            <pc:sldMk cId="628374823" sldId="264"/>
            <ac:spMk id="24" creationId="{D8F45056-665B-29DF-A717-C9BFC010AF99}"/>
          </ac:spMkLst>
        </pc:spChg>
        <pc:spChg chg="add del mod modVis">
          <ac:chgData name="Liang Yang" userId="7a7c13a3-d26c-494d-9577-22c5c3f8a804" providerId="ADAL" clId="{5563A8B3-E762-284D-A9AF-6F8879B1C7C3}" dt="2024-05-14T05:44:30.082" v="8279"/>
          <ac:spMkLst>
            <pc:docMk/>
            <pc:sldMk cId="628374823" sldId="264"/>
            <ac:spMk id="25" creationId="{FE28C3C1-BAB4-8A38-DCF2-247AB584A7DE}"/>
          </ac:spMkLst>
        </pc:spChg>
        <pc:spChg chg="add del mod modVis">
          <ac:chgData name="Liang Yang" userId="7a7c13a3-d26c-494d-9577-22c5c3f8a804" providerId="ADAL" clId="{5563A8B3-E762-284D-A9AF-6F8879B1C7C3}" dt="2024-05-14T05:44:30.876" v="8309"/>
          <ac:spMkLst>
            <pc:docMk/>
            <pc:sldMk cId="628374823" sldId="264"/>
            <ac:spMk id="26" creationId="{49296020-D433-930D-ECB3-8F8F51A6790F}"/>
          </ac:spMkLst>
        </pc:spChg>
        <pc:spChg chg="add del mod modVis">
          <ac:chgData name="Liang Yang" userId="7a7c13a3-d26c-494d-9577-22c5c3f8a804" providerId="ADAL" clId="{5563A8B3-E762-284D-A9AF-6F8879B1C7C3}" dt="2024-05-14T05:44:38.118" v="8339"/>
          <ac:spMkLst>
            <pc:docMk/>
            <pc:sldMk cId="628374823" sldId="264"/>
            <ac:spMk id="27" creationId="{84F2F22C-EB0E-1D26-BE1D-426BF9D67A3B}"/>
          </ac:spMkLst>
        </pc:spChg>
        <pc:spChg chg="add del mod modVis">
          <ac:chgData name="Liang Yang" userId="7a7c13a3-d26c-494d-9577-22c5c3f8a804" providerId="ADAL" clId="{5563A8B3-E762-284D-A9AF-6F8879B1C7C3}" dt="2024-05-14T05:44:40.394" v="8369"/>
          <ac:spMkLst>
            <pc:docMk/>
            <pc:sldMk cId="628374823" sldId="264"/>
            <ac:spMk id="28" creationId="{8BB5FC1D-DE97-AC7D-D407-35FEFE70462C}"/>
          </ac:spMkLst>
        </pc:spChg>
        <pc:spChg chg="add del mod modVis">
          <ac:chgData name="Liang Yang" userId="7a7c13a3-d26c-494d-9577-22c5c3f8a804" providerId="ADAL" clId="{5563A8B3-E762-284D-A9AF-6F8879B1C7C3}" dt="2024-05-14T05:44:43.988" v="8415"/>
          <ac:spMkLst>
            <pc:docMk/>
            <pc:sldMk cId="628374823" sldId="264"/>
            <ac:spMk id="29" creationId="{E7A70EF1-E85B-5263-20A7-BC22D7AD4A47}"/>
          </ac:spMkLst>
        </pc:spChg>
        <pc:spChg chg="add del mod modVis">
          <ac:chgData name="Liang Yang" userId="7a7c13a3-d26c-494d-9577-22c5c3f8a804" providerId="ADAL" clId="{5563A8B3-E762-284D-A9AF-6F8879B1C7C3}" dt="2024-05-14T05:44:44.695" v="8446"/>
          <ac:spMkLst>
            <pc:docMk/>
            <pc:sldMk cId="628374823" sldId="264"/>
            <ac:spMk id="30" creationId="{1F9F926A-0DDF-F1E2-9D17-E2CF6DB32195}"/>
          </ac:spMkLst>
        </pc:spChg>
        <pc:spChg chg="add del mod modVis">
          <ac:chgData name="Liang Yang" userId="7a7c13a3-d26c-494d-9577-22c5c3f8a804" providerId="ADAL" clId="{5563A8B3-E762-284D-A9AF-6F8879B1C7C3}" dt="2024-05-14T05:44:45.655" v="8476"/>
          <ac:spMkLst>
            <pc:docMk/>
            <pc:sldMk cId="628374823" sldId="264"/>
            <ac:spMk id="31" creationId="{975A6F0C-2F2C-D257-6000-08A1688876E1}"/>
          </ac:spMkLst>
        </pc:spChg>
        <pc:spChg chg="add del mod modVis">
          <ac:chgData name="Liang Yang" userId="7a7c13a3-d26c-494d-9577-22c5c3f8a804" providerId="ADAL" clId="{5563A8B3-E762-284D-A9AF-6F8879B1C7C3}" dt="2024-05-14T05:44:46.414" v="8505"/>
          <ac:spMkLst>
            <pc:docMk/>
            <pc:sldMk cId="628374823" sldId="264"/>
            <ac:spMk id="32" creationId="{3482ED5A-4711-CAC4-56B4-C9FF1F6842AE}"/>
          </ac:spMkLst>
        </pc:spChg>
        <pc:spChg chg="add del mod modVis">
          <ac:chgData name="Liang Yang" userId="7a7c13a3-d26c-494d-9577-22c5c3f8a804" providerId="ADAL" clId="{5563A8B3-E762-284D-A9AF-6F8879B1C7C3}" dt="2024-05-14T05:44:47.816" v="8538"/>
          <ac:spMkLst>
            <pc:docMk/>
            <pc:sldMk cId="628374823" sldId="264"/>
            <ac:spMk id="33" creationId="{D012F911-E5C3-7D23-485C-1F6DB631DBA3}"/>
          </ac:spMkLst>
        </pc:spChg>
        <pc:spChg chg="add del mod modVis">
          <ac:chgData name="Liang Yang" userId="7a7c13a3-d26c-494d-9577-22c5c3f8a804" providerId="ADAL" clId="{5563A8B3-E762-284D-A9AF-6F8879B1C7C3}" dt="2024-05-14T05:44:48.913" v="8567"/>
          <ac:spMkLst>
            <pc:docMk/>
            <pc:sldMk cId="628374823" sldId="264"/>
            <ac:spMk id="34" creationId="{D66D53F4-7325-4EE4-A7C4-597E5711F8F9}"/>
          </ac:spMkLst>
        </pc:spChg>
        <pc:spChg chg="add del mod modVis">
          <ac:chgData name="Liang Yang" userId="7a7c13a3-d26c-494d-9577-22c5c3f8a804" providerId="ADAL" clId="{5563A8B3-E762-284D-A9AF-6F8879B1C7C3}" dt="2024-05-14T05:44:49.993" v="8598"/>
          <ac:spMkLst>
            <pc:docMk/>
            <pc:sldMk cId="628374823" sldId="264"/>
            <ac:spMk id="35" creationId="{34F00180-A456-4367-171D-13E70BA7C779}"/>
          </ac:spMkLst>
        </pc:spChg>
        <pc:spChg chg="add del mod modVis">
          <ac:chgData name="Liang Yang" userId="7a7c13a3-d26c-494d-9577-22c5c3f8a804" providerId="ADAL" clId="{5563A8B3-E762-284D-A9AF-6F8879B1C7C3}" dt="2024-05-14T05:44:52.425" v="8636"/>
          <ac:spMkLst>
            <pc:docMk/>
            <pc:sldMk cId="628374823" sldId="264"/>
            <ac:spMk id="36" creationId="{9D9110FE-21EE-9627-FADB-D75D974E9FBF}"/>
          </ac:spMkLst>
        </pc:spChg>
        <pc:spChg chg="add del mod modVis">
          <ac:chgData name="Liang Yang" userId="7a7c13a3-d26c-494d-9577-22c5c3f8a804" providerId="ADAL" clId="{5563A8B3-E762-284D-A9AF-6F8879B1C7C3}" dt="2024-05-14T05:44:54.495" v="8665"/>
          <ac:spMkLst>
            <pc:docMk/>
            <pc:sldMk cId="628374823" sldId="264"/>
            <ac:spMk id="37" creationId="{4B4CF531-548E-61F3-D134-7F0F72DF77AD}"/>
          </ac:spMkLst>
        </pc:spChg>
        <pc:spChg chg="add del mod modVis">
          <ac:chgData name="Liang Yang" userId="7a7c13a3-d26c-494d-9577-22c5c3f8a804" providerId="ADAL" clId="{5563A8B3-E762-284D-A9AF-6F8879B1C7C3}" dt="2024-05-14T05:44:55.353" v="8696"/>
          <ac:spMkLst>
            <pc:docMk/>
            <pc:sldMk cId="628374823" sldId="264"/>
            <ac:spMk id="38" creationId="{6444B777-64FC-E84B-4F14-49AD52BA4D81}"/>
          </ac:spMkLst>
        </pc:spChg>
        <pc:spChg chg="add del mod modVis">
          <ac:chgData name="Liang Yang" userId="7a7c13a3-d26c-494d-9577-22c5c3f8a804" providerId="ADAL" clId="{5563A8B3-E762-284D-A9AF-6F8879B1C7C3}" dt="2024-05-14T05:44:55.974" v="8724"/>
          <ac:spMkLst>
            <pc:docMk/>
            <pc:sldMk cId="628374823" sldId="264"/>
            <ac:spMk id="39" creationId="{D669D502-4450-2A9A-F893-D8CF29F7CFD4}"/>
          </ac:spMkLst>
        </pc:spChg>
        <pc:spChg chg="add del mod modVis">
          <ac:chgData name="Liang Yang" userId="7a7c13a3-d26c-494d-9577-22c5c3f8a804" providerId="ADAL" clId="{5563A8B3-E762-284D-A9AF-6F8879B1C7C3}" dt="2024-05-14T05:44:57.301" v="8759"/>
          <ac:spMkLst>
            <pc:docMk/>
            <pc:sldMk cId="628374823" sldId="264"/>
            <ac:spMk id="40" creationId="{A6EEC7C6-689D-3E72-AB26-DAAF781F9383}"/>
          </ac:spMkLst>
        </pc:spChg>
        <pc:spChg chg="add del mod">
          <ac:chgData name="Liang Yang" userId="7a7c13a3-d26c-494d-9577-22c5c3f8a804" providerId="ADAL" clId="{5563A8B3-E762-284D-A9AF-6F8879B1C7C3}" dt="2024-05-14T05:45:02.241" v="8764"/>
          <ac:spMkLst>
            <pc:docMk/>
            <pc:sldMk cId="628374823" sldId="264"/>
            <ac:spMk id="41" creationId="{91AC053F-89B8-5F64-DF70-096823773EDF}"/>
          </ac:spMkLst>
        </pc:spChg>
        <pc:spChg chg="add del mod modVis">
          <ac:chgData name="Liang Yang" userId="7a7c13a3-d26c-494d-9577-22c5c3f8a804" providerId="ADAL" clId="{5563A8B3-E762-284D-A9AF-6F8879B1C7C3}" dt="2024-05-14T05:45:33.380" v="8791"/>
          <ac:spMkLst>
            <pc:docMk/>
            <pc:sldMk cId="628374823" sldId="264"/>
            <ac:spMk id="42" creationId="{66B3503B-699C-44E7-E2E7-205834AD71AF}"/>
          </ac:spMkLst>
        </pc:spChg>
        <pc:spChg chg="add del mod modVis">
          <ac:chgData name="Liang Yang" userId="7a7c13a3-d26c-494d-9577-22c5c3f8a804" providerId="ADAL" clId="{5563A8B3-E762-284D-A9AF-6F8879B1C7C3}" dt="2024-05-14T05:45:33.983" v="8819"/>
          <ac:spMkLst>
            <pc:docMk/>
            <pc:sldMk cId="628374823" sldId="264"/>
            <ac:spMk id="43" creationId="{9D759FC8-23AD-373E-9257-0EC97A0A15B0}"/>
          </ac:spMkLst>
        </pc:spChg>
        <pc:spChg chg="add del mod modVis">
          <ac:chgData name="Liang Yang" userId="7a7c13a3-d26c-494d-9577-22c5c3f8a804" providerId="ADAL" clId="{5563A8B3-E762-284D-A9AF-6F8879B1C7C3}" dt="2024-05-14T05:45:39.038" v="8849"/>
          <ac:spMkLst>
            <pc:docMk/>
            <pc:sldMk cId="628374823" sldId="264"/>
            <ac:spMk id="44" creationId="{6DDD4BFE-FEFA-99E6-0BE9-56F8C5FD80A9}"/>
          </ac:spMkLst>
        </pc:spChg>
        <pc:spChg chg="add del mod modVis">
          <ac:chgData name="Liang Yang" userId="7a7c13a3-d26c-494d-9577-22c5c3f8a804" providerId="ADAL" clId="{5563A8B3-E762-284D-A9AF-6F8879B1C7C3}" dt="2024-05-14T05:45:42.284" v="8877"/>
          <ac:spMkLst>
            <pc:docMk/>
            <pc:sldMk cId="628374823" sldId="264"/>
            <ac:spMk id="45" creationId="{BA61853F-4D7E-3215-AAE5-66AD1326D160}"/>
          </ac:spMkLst>
        </pc:spChg>
        <pc:spChg chg="add del mod modVis">
          <ac:chgData name="Liang Yang" userId="7a7c13a3-d26c-494d-9577-22c5c3f8a804" providerId="ADAL" clId="{5563A8B3-E762-284D-A9AF-6F8879B1C7C3}" dt="2024-05-14T05:45:42.923" v="8908"/>
          <ac:spMkLst>
            <pc:docMk/>
            <pc:sldMk cId="628374823" sldId="264"/>
            <ac:spMk id="46" creationId="{8F8F222F-7915-AECD-B8A8-98245BF85A2F}"/>
          </ac:spMkLst>
        </pc:spChg>
        <pc:spChg chg="add del mod modVis">
          <ac:chgData name="Liang Yang" userId="7a7c13a3-d26c-494d-9577-22c5c3f8a804" providerId="ADAL" clId="{5563A8B3-E762-284D-A9AF-6F8879B1C7C3}" dt="2024-05-14T05:45:43.576" v="8936"/>
          <ac:spMkLst>
            <pc:docMk/>
            <pc:sldMk cId="628374823" sldId="264"/>
            <ac:spMk id="47" creationId="{5F652AA5-B742-2873-CC1E-40D877B0E401}"/>
          </ac:spMkLst>
        </pc:spChg>
        <pc:spChg chg="add del mod modVis">
          <ac:chgData name="Liang Yang" userId="7a7c13a3-d26c-494d-9577-22c5c3f8a804" providerId="ADAL" clId="{5563A8B3-E762-284D-A9AF-6F8879B1C7C3}" dt="2024-05-14T05:45:44.654" v="8964"/>
          <ac:spMkLst>
            <pc:docMk/>
            <pc:sldMk cId="628374823" sldId="264"/>
            <ac:spMk id="48" creationId="{34D2C830-B32A-8BFC-D22A-FE6F9FC94836}"/>
          </ac:spMkLst>
        </pc:spChg>
        <pc:spChg chg="add del mod modVis">
          <ac:chgData name="Liang Yang" userId="7a7c13a3-d26c-494d-9577-22c5c3f8a804" providerId="ADAL" clId="{5563A8B3-E762-284D-A9AF-6F8879B1C7C3}" dt="2024-05-14T05:45:46.314" v="8998"/>
          <ac:spMkLst>
            <pc:docMk/>
            <pc:sldMk cId="628374823" sldId="264"/>
            <ac:spMk id="49" creationId="{A5BB13D6-E321-51F1-70BA-0F050CB16AD5}"/>
          </ac:spMkLst>
        </pc:spChg>
        <pc:spChg chg="add del mod modVis">
          <ac:chgData name="Liang Yang" userId="7a7c13a3-d26c-494d-9577-22c5c3f8a804" providerId="ADAL" clId="{5563A8B3-E762-284D-A9AF-6F8879B1C7C3}" dt="2024-05-14T05:45:52.218" v="9031"/>
          <ac:spMkLst>
            <pc:docMk/>
            <pc:sldMk cId="628374823" sldId="264"/>
            <ac:spMk id="50" creationId="{9E443AF7-4B76-D26A-F9A1-9F392A89BCE4}"/>
          </ac:spMkLst>
        </pc:spChg>
        <pc:spChg chg="add del mod modVis">
          <ac:chgData name="Liang Yang" userId="7a7c13a3-d26c-494d-9577-22c5c3f8a804" providerId="ADAL" clId="{5563A8B3-E762-284D-A9AF-6F8879B1C7C3}" dt="2024-05-14T05:45:53.105" v="9062"/>
          <ac:spMkLst>
            <pc:docMk/>
            <pc:sldMk cId="628374823" sldId="264"/>
            <ac:spMk id="51" creationId="{C6F2A941-0348-5C2A-0D53-CD6CCBB9BF73}"/>
          </ac:spMkLst>
        </pc:spChg>
        <pc:spChg chg="add del mod modVis">
          <ac:chgData name="Liang Yang" userId="7a7c13a3-d26c-494d-9577-22c5c3f8a804" providerId="ADAL" clId="{5563A8B3-E762-284D-A9AF-6F8879B1C7C3}" dt="2024-05-14T05:46:08.110" v="9090"/>
          <ac:spMkLst>
            <pc:docMk/>
            <pc:sldMk cId="628374823" sldId="264"/>
            <ac:spMk id="52" creationId="{D49DDAC0-95B4-EC41-1249-F67EA32B8D67}"/>
          </ac:spMkLst>
        </pc:spChg>
        <pc:spChg chg="add del mod modVis">
          <ac:chgData name="Liang Yang" userId="7a7c13a3-d26c-494d-9577-22c5c3f8a804" providerId="ADAL" clId="{5563A8B3-E762-284D-A9AF-6F8879B1C7C3}" dt="2024-05-14T05:46:09.142" v="9118"/>
          <ac:spMkLst>
            <pc:docMk/>
            <pc:sldMk cId="628374823" sldId="264"/>
            <ac:spMk id="53" creationId="{C6612AFB-D365-2CBB-A9B5-4ABC77FB12F4}"/>
          </ac:spMkLst>
        </pc:spChg>
        <pc:spChg chg="add del mod modVis">
          <ac:chgData name="Liang Yang" userId="7a7c13a3-d26c-494d-9577-22c5c3f8a804" providerId="ADAL" clId="{5563A8B3-E762-284D-A9AF-6F8879B1C7C3}" dt="2024-05-14T05:46:09.830" v="9147"/>
          <ac:spMkLst>
            <pc:docMk/>
            <pc:sldMk cId="628374823" sldId="264"/>
            <ac:spMk id="54" creationId="{579CD14E-4B82-99F3-DFC4-9609C595A70F}"/>
          </ac:spMkLst>
        </pc:spChg>
        <pc:spChg chg="add del mod modVis">
          <ac:chgData name="Liang Yang" userId="7a7c13a3-d26c-494d-9577-22c5c3f8a804" providerId="ADAL" clId="{5563A8B3-E762-284D-A9AF-6F8879B1C7C3}" dt="2024-05-14T05:46:11.052" v="9180"/>
          <ac:spMkLst>
            <pc:docMk/>
            <pc:sldMk cId="628374823" sldId="264"/>
            <ac:spMk id="55" creationId="{B235DE38-F580-BB5D-2A67-DA260603E3DC}"/>
          </ac:spMkLst>
        </pc:spChg>
        <pc:spChg chg="add del mod modVis">
          <ac:chgData name="Liang Yang" userId="7a7c13a3-d26c-494d-9577-22c5c3f8a804" providerId="ADAL" clId="{5563A8B3-E762-284D-A9AF-6F8879B1C7C3}" dt="2024-05-14T05:46:15.360" v="9221"/>
          <ac:spMkLst>
            <pc:docMk/>
            <pc:sldMk cId="628374823" sldId="264"/>
            <ac:spMk id="56" creationId="{DAC19C64-A088-ADE9-ADF9-ED88919ECB4B}"/>
          </ac:spMkLst>
        </pc:spChg>
        <pc:spChg chg="add del mod modVis">
          <ac:chgData name="Liang Yang" userId="7a7c13a3-d26c-494d-9577-22c5c3f8a804" providerId="ADAL" clId="{5563A8B3-E762-284D-A9AF-6F8879B1C7C3}" dt="2024-05-14T05:46:17.174" v="9256"/>
          <ac:spMkLst>
            <pc:docMk/>
            <pc:sldMk cId="628374823" sldId="264"/>
            <ac:spMk id="57" creationId="{9F0F4B64-AA46-4474-4051-17AA31657B90}"/>
          </ac:spMkLst>
        </pc:spChg>
        <pc:spChg chg="add del mod modVis">
          <ac:chgData name="Liang Yang" userId="7a7c13a3-d26c-494d-9577-22c5c3f8a804" providerId="ADAL" clId="{5563A8B3-E762-284D-A9AF-6F8879B1C7C3}" dt="2024-05-14T05:46:24.980" v="9285"/>
          <ac:spMkLst>
            <pc:docMk/>
            <pc:sldMk cId="628374823" sldId="264"/>
            <ac:spMk id="58" creationId="{A1F1F141-EC6D-6272-B076-3407191C60E9}"/>
          </ac:spMkLst>
        </pc:spChg>
        <pc:spChg chg="add del mod modVis">
          <ac:chgData name="Liang Yang" userId="7a7c13a3-d26c-494d-9577-22c5c3f8a804" providerId="ADAL" clId="{5563A8B3-E762-284D-A9AF-6F8879B1C7C3}" dt="2024-05-14T05:46:28.233" v="9329"/>
          <ac:spMkLst>
            <pc:docMk/>
            <pc:sldMk cId="628374823" sldId="264"/>
            <ac:spMk id="59" creationId="{1025EC09-D169-E900-7C90-06F6B1CB542E}"/>
          </ac:spMkLst>
        </pc:spChg>
        <pc:spChg chg="add del mod modVis">
          <ac:chgData name="Liang Yang" userId="7a7c13a3-d26c-494d-9577-22c5c3f8a804" providerId="ADAL" clId="{5563A8B3-E762-284D-A9AF-6F8879B1C7C3}" dt="2024-05-14T05:46:30.201" v="9365"/>
          <ac:spMkLst>
            <pc:docMk/>
            <pc:sldMk cId="628374823" sldId="264"/>
            <ac:spMk id="60" creationId="{E5AF7333-A547-0FB9-AA7F-40FF4822BC84}"/>
          </ac:spMkLst>
        </pc:spChg>
        <pc:spChg chg="add del mod modVis">
          <ac:chgData name="Liang Yang" userId="7a7c13a3-d26c-494d-9577-22c5c3f8a804" providerId="ADAL" clId="{5563A8B3-E762-284D-A9AF-6F8879B1C7C3}" dt="2024-05-14T05:46:32.173" v="9398"/>
          <ac:spMkLst>
            <pc:docMk/>
            <pc:sldMk cId="628374823" sldId="264"/>
            <ac:spMk id="61" creationId="{36ACFF76-72E3-A4AC-30A4-C8BDDBCDCA54}"/>
          </ac:spMkLst>
        </pc:spChg>
        <pc:spChg chg="add del mod modVis">
          <ac:chgData name="Liang Yang" userId="7a7c13a3-d26c-494d-9577-22c5c3f8a804" providerId="ADAL" clId="{5563A8B3-E762-284D-A9AF-6F8879B1C7C3}" dt="2024-05-14T05:46:33.151" v="9429"/>
          <ac:spMkLst>
            <pc:docMk/>
            <pc:sldMk cId="628374823" sldId="264"/>
            <ac:spMk id="62" creationId="{90CB857C-20EA-1CC1-A15A-D33E642D9A4D}"/>
          </ac:spMkLst>
        </pc:spChg>
        <pc:spChg chg="add del mod modVis">
          <ac:chgData name="Liang Yang" userId="7a7c13a3-d26c-494d-9577-22c5c3f8a804" providerId="ADAL" clId="{5563A8B3-E762-284D-A9AF-6F8879B1C7C3}" dt="2024-05-14T05:46:54.881" v="9461"/>
          <ac:spMkLst>
            <pc:docMk/>
            <pc:sldMk cId="628374823" sldId="264"/>
            <ac:spMk id="63" creationId="{EA491669-D502-9706-4C26-391C7C6297FA}"/>
          </ac:spMkLst>
        </pc:spChg>
        <pc:spChg chg="add del mod modVis">
          <ac:chgData name="Liang Yang" userId="7a7c13a3-d26c-494d-9577-22c5c3f8a804" providerId="ADAL" clId="{5563A8B3-E762-284D-A9AF-6F8879B1C7C3}" dt="2024-05-14T05:46:56.279" v="9494"/>
          <ac:spMkLst>
            <pc:docMk/>
            <pc:sldMk cId="628374823" sldId="264"/>
            <ac:spMk id="64" creationId="{CE98EE6C-0BF2-22E0-AF42-FA4557D99055}"/>
          </ac:spMkLst>
        </pc:spChg>
        <pc:spChg chg="add del mod modVis">
          <ac:chgData name="Liang Yang" userId="7a7c13a3-d26c-494d-9577-22c5c3f8a804" providerId="ADAL" clId="{5563A8B3-E762-284D-A9AF-6F8879B1C7C3}" dt="2024-05-14T05:47:00.993" v="9526"/>
          <ac:spMkLst>
            <pc:docMk/>
            <pc:sldMk cId="628374823" sldId="264"/>
            <ac:spMk id="65" creationId="{91C3CABD-1F3F-98C5-2E55-995AEC04062E}"/>
          </ac:spMkLst>
        </pc:spChg>
        <pc:spChg chg="add del">
          <ac:chgData name="Liang Yang" userId="7a7c13a3-d26c-494d-9577-22c5c3f8a804" providerId="ADAL" clId="{5563A8B3-E762-284D-A9AF-6F8879B1C7C3}" dt="2024-05-14T05:52:42.434" v="9534" actId="22"/>
          <ac:spMkLst>
            <pc:docMk/>
            <pc:sldMk cId="628374823" sldId="264"/>
            <ac:spMk id="67" creationId="{B6F27C5C-3FAD-0777-7E00-C89990AA0E2A}"/>
          </ac:spMkLst>
        </pc:spChg>
        <pc:spChg chg="add mod">
          <ac:chgData name="Liang Yang" userId="7a7c13a3-d26c-494d-9577-22c5c3f8a804" providerId="ADAL" clId="{5563A8B3-E762-284D-A9AF-6F8879B1C7C3}" dt="2024-05-14T06:04:44.848" v="9806" actId="1038"/>
          <ac:spMkLst>
            <pc:docMk/>
            <pc:sldMk cId="628374823" sldId="264"/>
            <ac:spMk id="82" creationId="{46F57803-DD4D-F4F6-0FD8-BA681A20898C}"/>
          </ac:spMkLst>
        </pc:spChg>
        <pc:spChg chg="add mod">
          <ac:chgData name="Liang Yang" userId="7a7c13a3-d26c-494d-9577-22c5c3f8a804" providerId="ADAL" clId="{5563A8B3-E762-284D-A9AF-6F8879B1C7C3}" dt="2024-05-14T06:04:44.848" v="9806" actId="1038"/>
          <ac:spMkLst>
            <pc:docMk/>
            <pc:sldMk cId="628374823" sldId="264"/>
            <ac:spMk id="83" creationId="{4B0F169F-DB4E-5EA9-EE86-A168AAC74557}"/>
          </ac:spMkLst>
        </pc:spChg>
        <pc:grpChg chg="add mod">
          <ac:chgData name="Liang Yang" userId="7a7c13a3-d26c-494d-9577-22c5c3f8a804" providerId="ADAL" clId="{5563A8B3-E762-284D-A9AF-6F8879B1C7C3}" dt="2024-05-14T06:04:44.848" v="9806" actId="1038"/>
          <ac:grpSpMkLst>
            <pc:docMk/>
            <pc:sldMk cId="628374823" sldId="264"/>
            <ac:grpSpMk id="76" creationId="{E1A3CEB9-DF2B-8B02-D47D-C231A505CF87}"/>
          </ac:grpSpMkLst>
        </pc:grpChg>
        <pc:grpChg chg="add mod">
          <ac:chgData name="Liang Yang" userId="7a7c13a3-d26c-494d-9577-22c5c3f8a804" providerId="ADAL" clId="{5563A8B3-E762-284D-A9AF-6F8879B1C7C3}" dt="2024-05-14T06:04:44.848" v="9806" actId="1038"/>
          <ac:grpSpMkLst>
            <pc:docMk/>
            <pc:sldMk cId="628374823" sldId="264"/>
            <ac:grpSpMk id="79" creationId="{B9D7BEF0-6B68-6E52-7A80-45E18B030315}"/>
          </ac:grpSpMkLst>
        </pc:grpChg>
        <pc:grpChg chg="add mod">
          <ac:chgData name="Liang Yang" userId="7a7c13a3-d26c-494d-9577-22c5c3f8a804" providerId="ADAL" clId="{5563A8B3-E762-284D-A9AF-6F8879B1C7C3}" dt="2024-05-14T06:04:44.848" v="9806" actId="1038"/>
          <ac:grpSpMkLst>
            <pc:docMk/>
            <pc:sldMk cId="628374823" sldId="264"/>
            <ac:grpSpMk id="80" creationId="{3CE3426E-D505-014F-AEC5-F1BBE85EF1D2}"/>
          </ac:grpSpMkLst>
        </pc:grpChg>
        <pc:grpChg chg="add mod">
          <ac:chgData name="Liang Yang" userId="7a7c13a3-d26c-494d-9577-22c5c3f8a804" providerId="ADAL" clId="{5563A8B3-E762-284D-A9AF-6F8879B1C7C3}" dt="2024-05-14T06:04:44.848" v="9806" actId="1038"/>
          <ac:grpSpMkLst>
            <pc:docMk/>
            <pc:sldMk cId="628374823" sldId="264"/>
            <ac:grpSpMk id="81" creationId="{BBE67395-8450-4400-3C5C-5B2BEB96BFA3}"/>
          </ac:grpSpMkLst>
        </pc:grpChg>
        <pc:grpChg chg="add mod">
          <ac:chgData name="Liang Yang" userId="7a7c13a3-d26c-494d-9577-22c5c3f8a804" providerId="ADAL" clId="{5563A8B3-E762-284D-A9AF-6F8879B1C7C3}" dt="2024-05-14T06:04:44.848" v="9806" actId="1038"/>
          <ac:grpSpMkLst>
            <pc:docMk/>
            <pc:sldMk cId="628374823" sldId="264"/>
            <ac:grpSpMk id="84" creationId="{864C068A-A4D9-D132-41E0-9A6830589327}"/>
          </ac:grpSpMkLst>
        </pc:grpChg>
        <pc:graphicFrameChg chg="mod">
          <ac:chgData name="Liang Yang" userId="7a7c13a3-d26c-494d-9577-22c5c3f8a804" providerId="ADAL" clId="{5563A8B3-E762-284D-A9AF-6F8879B1C7C3}" dt="2024-05-14T06:04:17.690" v="9799"/>
          <ac:graphicFrameMkLst>
            <pc:docMk/>
            <pc:sldMk cId="628374823" sldId="264"/>
            <ac:graphicFrameMk id="5" creationId="{C6112179-68C2-DCF3-BF3D-B38605D02DE1}"/>
          </ac:graphicFrameMkLst>
        </pc:graphicFrameChg>
        <pc:picChg chg="mod">
          <ac:chgData name="Liang Yang" userId="7a7c13a3-d26c-494d-9577-22c5c3f8a804" providerId="ADAL" clId="{5563A8B3-E762-284D-A9AF-6F8879B1C7C3}" dt="2024-05-14T06:04:44.848" v="9806" actId="1038"/>
          <ac:picMkLst>
            <pc:docMk/>
            <pc:sldMk cId="628374823" sldId="264"/>
            <ac:picMk id="17" creationId="{2A4A28CF-8D69-25CD-C57F-7B17F306994B}"/>
          </ac:picMkLst>
        </pc:picChg>
        <pc:picChg chg="add del mod">
          <ac:chgData name="Liang Yang" userId="7a7c13a3-d26c-494d-9577-22c5c3f8a804" providerId="ADAL" clId="{5563A8B3-E762-284D-A9AF-6F8879B1C7C3}" dt="2024-05-14T05:59:14.784" v="9554" actId="478"/>
          <ac:picMkLst>
            <pc:docMk/>
            <pc:sldMk cId="628374823" sldId="264"/>
            <ac:picMk id="69" creationId="{037721DB-5AC3-8CA4-B9DA-AC76487330CF}"/>
          </ac:picMkLst>
        </pc:picChg>
        <pc:picChg chg="add mod">
          <ac:chgData name="Liang Yang" userId="7a7c13a3-d26c-494d-9577-22c5c3f8a804" providerId="ADAL" clId="{5563A8B3-E762-284D-A9AF-6F8879B1C7C3}" dt="2024-05-14T06:04:44.848" v="9806" actId="1038"/>
          <ac:picMkLst>
            <pc:docMk/>
            <pc:sldMk cId="628374823" sldId="264"/>
            <ac:picMk id="71" creationId="{A135F11E-4349-0F9D-B386-72016EB68BA4}"/>
          </ac:picMkLst>
        </pc:picChg>
        <pc:picChg chg="add mod">
          <ac:chgData name="Liang Yang" userId="7a7c13a3-d26c-494d-9577-22c5c3f8a804" providerId="ADAL" clId="{5563A8B3-E762-284D-A9AF-6F8879B1C7C3}" dt="2024-05-14T06:04:44.848" v="9806" actId="1038"/>
          <ac:picMkLst>
            <pc:docMk/>
            <pc:sldMk cId="628374823" sldId="264"/>
            <ac:picMk id="73" creationId="{EA0C2B02-9DB8-9E46-4E59-7DD2FB992A39}"/>
          </ac:picMkLst>
        </pc:picChg>
        <pc:picChg chg="add mod">
          <ac:chgData name="Liang Yang" userId="7a7c13a3-d26c-494d-9577-22c5c3f8a804" providerId="ADAL" clId="{5563A8B3-E762-284D-A9AF-6F8879B1C7C3}" dt="2024-05-14T06:04:44.848" v="9806" actId="1038"/>
          <ac:picMkLst>
            <pc:docMk/>
            <pc:sldMk cId="628374823" sldId="264"/>
            <ac:picMk id="75" creationId="{76D723A6-EA88-0595-C3DD-0534C5FFF0B4}"/>
          </ac:picMkLst>
        </pc:picChg>
        <pc:cxnChg chg="add mod">
          <ac:chgData name="Liang Yang" userId="7a7c13a3-d26c-494d-9577-22c5c3f8a804" providerId="ADAL" clId="{5563A8B3-E762-284D-A9AF-6F8879B1C7C3}" dt="2024-05-14T06:04:44.848" v="9806" actId="1038"/>
          <ac:cxnSpMkLst>
            <pc:docMk/>
            <pc:sldMk cId="628374823" sldId="264"/>
            <ac:cxnSpMk id="78" creationId="{C4880133-B8F9-E444-29C4-9317A43DC20E}"/>
          </ac:cxnSpMkLst>
        </pc:cxnChg>
      </pc:sldChg>
      <pc:sldChg chg="addSp delSp modSp mod">
        <pc:chgData name="Liang Yang" userId="7a7c13a3-d26c-494d-9577-22c5c3f8a804" providerId="ADAL" clId="{5563A8B3-E762-284D-A9AF-6F8879B1C7C3}" dt="2024-05-14T06:34:48.092" v="11643" actId="20577"/>
        <pc:sldMkLst>
          <pc:docMk/>
          <pc:sldMk cId="2634376879" sldId="267"/>
        </pc:sldMkLst>
        <pc:spChg chg="mod">
          <ac:chgData name="Liang Yang" userId="7a7c13a3-d26c-494d-9577-22c5c3f8a804" providerId="ADAL" clId="{5563A8B3-E762-284D-A9AF-6F8879B1C7C3}" dt="2024-05-14T06:19:02.119" v="10858" actId="948"/>
          <ac:spMkLst>
            <pc:docMk/>
            <pc:sldMk cId="2634376879" sldId="267"/>
            <ac:spMk id="2" creationId="{190C47B4-A196-DC50-2C83-9E3B6718CD8B}"/>
          </ac:spMkLst>
        </pc:spChg>
        <pc:spChg chg="add mod">
          <ac:chgData name="Liang Yang" userId="7a7c13a3-d26c-494d-9577-22c5c3f8a804" providerId="ADAL" clId="{5563A8B3-E762-284D-A9AF-6F8879B1C7C3}" dt="2024-05-14T06:34:48.092" v="11643" actId="20577"/>
          <ac:spMkLst>
            <pc:docMk/>
            <pc:sldMk cId="2634376879" sldId="267"/>
            <ac:spMk id="3" creationId="{18809C0A-B909-174D-788D-5302929F63FA}"/>
          </ac:spMkLst>
        </pc:spChg>
        <pc:spChg chg="add del mod modVis">
          <ac:chgData name="Liang Yang" userId="7a7c13a3-d26c-494d-9577-22c5c3f8a804" providerId="ADAL" clId="{5563A8B3-E762-284D-A9AF-6F8879B1C7C3}" dt="2024-05-14T06:13:13.448" v="9903"/>
          <ac:spMkLst>
            <pc:docMk/>
            <pc:sldMk cId="2634376879" sldId="267"/>
            <ac:spMk id="4" creationId="{4FF7FA84-19A1-7370-8A95-7D7DB07EB5E8}"/>
          </ac:spMkLst>
        </pc:spChg>
        <pc:spChg chg="add del mod modVis">
          <ac:chgData name="Liang Yang" userId="7a7c13a3-d26c-494d-9577-22c5c3f8a804" providerId="ADAL" clId="{5563A8B3-E762-284D-A9AF-6F8879B1C7C3}" dt="2024-05-14T06:18:32.286" v="10427"/>
          <ac:spMkLst>
            <pc:docMk/>
            <pc:sldMk cId="2634376879" sldId="267"/>
            <ac:spMk id="6" creationId="{ED8E75EC-62C7-DC35-15FA-F457EEE1760F}"/>
          </ac:spMkLst>
        </pc:spChg>
        <pc:spChg chg="add del mod modVis">
          <ac:chgData name="Liang Yang" userId="7a7c13a3-d26c-494d-9577-22c5c3f8a804" providerId="ADAL" clId="{5563A8B3-E762-284D-A9AF-6F8879B1C7C3}" dt="2024-05-14T06:18:32.898" v="10455"/>
          <ac:spMkLst>
            <pc:docMk/>
            <pc:sldMk cId="2634376879" sldId="267"/>
            <ac:spMk id="7" creationId="{8102182A-5852-626E-AECA-9ACEE5C5A0CA}"/>
          </ac:spMkLst>
        </pc:spChg>
        <pc:spChg chg="del mod">
          <ac:chgData name="Liang Yang" userId="7a7c13a3-d26c-494d-9577-22c5c3f8a804" providerId="ADAL" clId="{5563A8B3-E762-284D-A9AF-6F8879B1C7C3}" dt="2024-05-14T06:11:37.892" v="9867" actId="478"/>
          <ac:spMkLst>
            <pc:docMk/>
            <pc:sldMk cId="2634376879" sldId="267"/>
            <ac:spMk id="8" creationId="{8DFBEAD5-F7D4-6EE4-634C-F32964824353}"/>
          </ac:spMkLst>
        </pc:spChg>
        <pc:spChg chg="add del mod modVis">
          <ac:chgData name="Liang Yang" userId="7a7c13a3-d26c-494d-9577-22c5c3f8a804" providerId="ADAL" clId="{5563A8B3-E762-284D-A9AF-6F8879B1C7C3}" dt="2024-05-14T06:18:38.390" v="10501"/>
          <ac:spMkLst>
            <pc:docMk/>
            <pc:sldMk cId="2634376879" sldId="267"/>
            <ac:spMk id="9" creationId="{91128102-3A12-D71F-AA4A-165FA66A6489}"/>
          </ac:spMkLst>
        </pc:spChg>
        <pc:spChg chg="del mod">
          <ac:chgData name="Liang Yang" userId="7a7c13a3-d26c-494d-9577-22c5c3f8a804" providerId="ADAL" clId="{5563A8B3-E762-284D-A9AF-6F8879B1C7C3}" dt="2024-05-14T06:11:37.892" v="9867" actId="478"/>
          <ac:spMkLst>
            <pc:docMk/>
            <pc:sldMk cId="2634376879" sldId="267"/>
            <ac:spMk id="10" creationId="{94D0F9D3-4D25-0DF6-E88A-E84B38A1A2C6}"/>
          </ac:spMkLst>
        </pc:spChg>
        <pc:spChg chg="add del mod modVis">
          <ac:chgData name="Liang Yang" userId="7a7c13a3-d26c-494d-9577-22c5c3f8a804" providerId="ADAL" clId="{5563A8B3-E762-284D-A9AF-6F8879B1C7C3}" dt="2024-05-14T06:18:40.342" v="10535"/>
          <ac:spMkLst>
            <pc:docMk/>
            <pc:sldMk cId="2634376879" sldId="267"/>
            <ac:spMk id="11" creationId="{E79BBE36-3C93-5B12-5565-55AAE31989D4}"/>
          </ac:spMkLst>
        </pc:spChg>
        <pc:spChg chg="add del mod modVis">
          <ac:chgData name="Liang Yang" userId="7a7c13a3-d26c-494d-9577-22c5c3f8a804" providerId="ADAL" clId="{5563A8B3-E762-284D-A9AF-6F8879B1C7C3}" dt="2024-05-14T06:18:42.136" v="10571"/>
          <ac:spMkLst>
            <pc:docMk/>
            <pc:sldMk cId="2634376879" sldId="267"/>
            <ac:spMk id="12" creationId="{B12479A3-40FE-E866-1FF5-9D57B96859B2}"/>
          </ac:spMkLst>
        </pc:spChg>
        <pc:spChg chg="add del mod modVis">
          <ac:chgData name="Liang Yang" userId="7a7c13a3-d26c-494d-9577-22c5c3f8a804" providerId="ADAL" clId="{5563A8B3-E762-284D-A9AF-6F8879B1C7C3}" dt="2024-05-14T06:18:42.898" v="10602"/>
          <ac:spMkLst>
            <pc:docMk/>
            <pc:sldMk cId="2634376879" sldId="267"/>
            <ac:spMk id="13" creationId="{201E3A09-358C-AFE9-A8C8-5F857D4E3318}"/>
          </ac:spMkLst>
        </pc:spChg>
        <pc:spChg chg="del mod">
          <ac:chgData name="Liang Yang" userId="7a7c13a3-d26c-494d-9577-22c5c3f8a804" providerId="ADAL" clId="{5563A8B3-E762-284D-A9AF-6F8879B1C7C3}" dt="2024-05-14T06:11:37.892" v="9867" actId="478"/>
          <ac:spMkLst>
            <pc:docMk/>
            <pc:sldMk cId="2634376879" sldId="267"/>
            <ac:spMk id="14" creationId="{417F0F7E-3C1C-5C68-1758-CF0459D6B2FE}"/>
          </ac:spMkLst>
        </pc:spChg>
        <pc:spChg chg="add del mod modVis">
          <ac:chgData name="Liang Yang" userId="7a7c13a3-d26c-494d-9577-22c5c3f8a804" providerId="ADAL" clId="{5563A8B3-E762-284D-A9AF-6F8879B1C7C3}" dt="2024-05-14T06:18:43.871" v="10633"/>
          <ac:spMkLst>
            <pc:docMk/>
            <pc:sldMk cId="2634376879" sldId="267"/>
            <ac:spMk id="15" creationId="{30A3B89C-83F8-9861-4A8D-D6850F08691B}"/>
          </ac:spMkLst>
        </pc:spChg>
        <pc:spChg chg="add del mod modVis">
          <ac:chgData name="Liang Yang" userId="7a7c13a3-d26c-494d-9577-22c5c3f8a804" providerId="ADAL" clId="{5563A8B3-E762-284D-A9AF-6F8879B1C7C3}" dt="2024-05-14T06:18:46.277" v="10667"/>
          <ac:spMkLst>
            <pc:docMk/>
            <pc:sldMk cId="2634376879" sldId="267"/>
            <ac:spMk id="16" creationId="{9A71C36B-6AD6-B1A6-8085-2E4B16284603}"/>
          </ac:spMkLst>
        </pc:spChg>
        <pc:spChg chg="add del mod modVis">
          <ac:chgData name="Liang Yang" userId="7a7c13a3-d26c-494d-9577-22c5c3f8a804" providerId="ADAL" clId="{5563A8B3-E762-284D-A9AF-6F8879B1C7C3}" dt="2024-05-14T06:18:47.297" v="10698"/>
          <ac:spMkLst>
            <pc:docMk/>
            <pc:sldMk cId="2634376879" sldId="267"/>
            <ac:spMk id="17" creationId="{60088D8A-85FF-07E6-7F19-8EEC6215A6F1}"/>
          </ac:spMkLst>
        </pc:spChg>
        <pc:spChg chg="add del mod modVis">
          <ac:chgData name="Liang Yang" userId="7a7c13a3-d26c-494d-9577-22c5c3f8a804" providerId="ADAL" clId="{5563A8B3-E762-284D-A9AF-6F8879B1C7C3}" dt="2024-05-14T06:18:49.159" v="10733"/>
          <ac:spMkLst>
            <pc:docMk/>
            <pc:sldMk cId="2634376879" sldId="267"/>
            <ac:spMk id="18" creationId="{9154EA5F-988C-09F7-7DED-19B8133BC818}"/>
          </ac:spMkLst>
        </pc:spChg>
        <pc:spChg chg="add del mod modVis">
          <ac:chgData name="Liang Yang" userId="7a7c13a3-d26c-494d-9577-22c5c3f8a804" providerId="ADAL" clId="{5563A8B3-E762-284D-A9AF-6F8879B1C7C3}" dt="2024-05-14T06:18:50.593" v="10767"/>
          <ac:spMkLst>
            <pc:docMk/>
            <pc:sldMk cId="2634376879" sldId="267"/>
            <ac:spMk id="19" creationId="{28513BF4-C382-20C7-49A2-3550B3C44CE1}"/>
          </ac:spMkLst>
        </pc:spChg>
        <pc:spChg chg="add del mod modVis">
          <ac:chgData name="Liang Yang" userId="7a7c13a3-d26c-494d-9577-22c5c3f8a804" providerId="ADAL" clId="{5563A8B3-E762-284D-A9AF-6F8879B1C7C3}" dt="2024-05-14T06:18:55.709" v="10797"/>
          <ac:spMkLst>
            <pc:docMk/>
            <pc:sldMk cId="2634376879" sldId="267"/>
            <ac:spMk id="20" creationId="{01F06B72-9BEF-9175-6507-74A0E61B9430}"/>
          </ac:spMkLst>
        </pc:spChg>
        <pc:spChg chg="add del mod modVis">
          <ac:chgData name="Liang Yang" userId="7a7c13a3-d26c-494d-9577-22c5c3f8a804" providerId="ADAL" clId="{5563A8B3-E762-284D-A9AF-6F8879B1C7C3}" dt="2024-05-14T06:18:56.533" v="10826"/>
          <ac:spMkLst>
            <pc:docMk/>
            <pc:sldMk cId="2634376879" sldId="267"/>
            <ac:spMk id="21" creationId="{A6285120-6BC8-FE0F-9185-6D96A4475AE7}"/>
          </ac:spMkLst>
        </pc:spChg>
        <pc:spChg chg="add del mod modVis">
          <ac:chgData name="Liang Yang" userId="7a7c13a3-d26c-494d-9577-22c5c3f8a804" providerId="ADAL" clId="{5563A8B3-E762-284D-A9AF-6F8879B1C7C3}" dt="2024-05-14T06:19:00.867" v="10854"/>
          <ac:spMkLst>
            <pc:docMk/>
            <pc:sldMk cId="2634376879" sldId="267"/>
            <ac:spMk id="22" creationId="{58E3C476-D1A8-9A11-4BF8-B058FB9E0882}"/>
          </ac:spMkLst>
        </pc:spChg>
        <pc:spChg chg="add del mod modVis">
          <ac:chgData name="Liang Yang" userId="7a7c13a3-d26c-494d-9577-22c5c3f8a804" providerId="ADAL" clId="{5563A8B3-E762-284D-A9AF-6F8879B1C7C3}" dt="2024-05-14T06:19:02.172" v="10882"/>
          <ac:spMkLst>
            <pc:docMk/>
            <pc:sldMk cId="2634376879" sldId="267"/>
            <ac:spMk id="23" creationId="{6C066B3F-AF63-678F-7A4C-150EADB58380}"/>
          </ac:spMkLst>
        </pc:spChg>
        <pc:graphicFrameChg chg="mod">
          <ac:chgData name="Liang Yang" userId="7a7c13a3-d26c-494d-9577-22c5c3f8a804" providerId="ADAL" clId="{5563A8B3-E762-284D-A9AF-6F8879B1C7C3}" dt="2024-05-14T06:19:02.175" v="10884"/>
          <ac:graphicFrameMkLst>
            <pc:docMk/>
            <pc:sldMk cId="2634376879" sldId="267"/>
            <ac:graphicFrameMk id="5" creationId="{C6112179-68C2-DCF3-BF3D-B38605D02DE1}"/>
          </ac:graphicFrameMkLst>
        </pc:graphicFrameChg>
      </pc:sldChg>
      <pc:sldChg chg="del">
        <pc:chgData name="Liang Yang" userId="7a7c13a3-d26c-494d-9577-22c5c3f8a804" providerId="ADAL" clId="{5563A8B3-E762-284D-A9AF-6F8879B1C7C3}" dt="2024-05-14T03:42:45.421" v="0" actId="2696"/>
        <pc:sldMkLst>
          <pc:docMk/>
          <pc:sldMk cId="601279902" sldId="268"/>
        </pc:sldMkLst>
      </pc:sldChg>
      <pc:sldChg chg="addSp delSp modSp mod">
        <pc:chgData name="Liang Yang" userId="7a7c13a3-d26c-494d-9577-22c5c3f8a804" providerId="ADAL" clId="{5563A8B3-E762-284D-A9AF-6F8879B1C7C3}" dt="2024-05-14T04:26:05.766" v="2889" actId="1038"/>
        <pc:sldMkLst>
          <pc:docMk/>
          <pc:sldMk cId="356493524" sldId="269"/>
        </pc:sldMkLst>
        <pc:spChg chg="mod">
          <ac:chgData name="Liang Yang" userId="7a7c13a3-d26c-494d-9577-22c5c3f8a804" providerId="ADAL" clId="{5563A8B3-E762-284D-A9AF-6F8879B1C7C3}" dt="2024-05-14T04:01:31.582" v="2521" actId="948"/>
          <ac:spMkLst>
            <pc:docMk/>
            <pc:sldMk cId="356493524" sldId="269"/>
            <ac:spMk id="2" creationId="{CBADF92F-4066-F747-AAEF-597A8340E927}"/>
          </ac:spMkLst>
        </pc:spChg>
        <pc:spChg chg="add del mod modVis">
          <ac:chgData name="Liang Yang" userId="7a7c13a3-d26c-494d-9577-22c5c3f8a804" providerId="ADAL" clId="{5563A8B3-E762-284D-A9AF-6F8879B1C7C3}" dt="2024-05-14T04:01:31.638" v="2546"/>
          <ac:spMkLst>
            <pc:docMk/>
            <pc:sldMk cId="356493524" sldId="269"/>
            <ac:spMk id="3" creationId="{25640867-1DC5-BBF5-25FC-23FCE0622ACE}"/>
          </ac:spMkLst>
        </pc:spChg>
        <pc:spChg chg="mod">
          <ac:chgData name="Liang Yang" userId="7a7c13a3-d26c-494d-9577-22c5c3f8a804" providerId="ADAL" clId="{5563A8B3-E762-284D-A9AF-6F8879B1C7C3}" dt="2024-05-14T04:26:05.766" v="2889" actId="1038"/>
          <ac:spMkLst>
            <pc:docMk/>
            <pc:sldMk cId="356493524" sldId="269"/>
            <ac:spMk id="48" creationId="{CBD48F80-36E6-29D4-92A2-C97111D50CC6}"/>
          </ac:spMkLst>
        </pc:spChg>
        <pc:graphicFrameChg chg="mod">
          <ac:chgData name="Liang Yang" userId="7a7c13a3-d26c-494d-9577-22c5c3f8a804" providerId="ADAL" clId="{5563A8B3-E762-284D-A9AF-6F8879B1C7C3}" dt="2024-05-14T04:01:31.641" v="2548"/>
          <ac:graphicFrameMkLst>
            <pc:docMk/>
            <pc:sldMk cId="356493524" sldId="269"/>
            <ac:graphicFrameMk id="4" creationId="{B0DF492E-9842-C18F-58FA-A416AC8482E4}"/>
          </ac:graphicFrameMkLst>
        </pc:graphicFrameChg>
      </pc:sldChg>
      <pc:sldChg chg="addSp delSp modSp mod">
        <pc:chgData name="Liang Yang" userId="7a7c13a3-d26c-494d-9577-22c5c3f8a804" providerId="ADAL" clId="{5563A8B3-E762-284D-A9AF-6F8879B1C7C3}" dt="2024-05-14T04:25:58.019" v="2886" actId="20577"/>
        <pc:sldMkLst>
          <pc:docMk/>
          <pc:sldMk cId="2445939266" sldId="270"/>
        </pc:sldMkLst>
        <pc:spChg chg="mod">
          <ac:chgData name="Liang Yang" userId="7a7c13a3-d26c-494d-9577-22c5c3f8a804" providerId="ADAL" clId="{5563A8B3-E762-284D-A9AF-6F8879B1C7C3}" dt="2024-05-14T04:01:25.559" v="2480" actId="948"/>
          <ac:spMkLst>
            <pc:docMk/>
            <pc:sldMk cId="2445939266" sldId="270"/>
            <ac:spMk id="2" creationId="{CBADF92F-4066-F747-AAEF-597A8340E927}"/>
          </ac:spMkLst>
        </pc:spChg>
        <pc:spChg chg="add del mod modVis">
          <ac:chgData name="Liang Yang" userId="7a7c13a3-d26c-494d-9577-22c5c3f8a804" providerId="ADAL" clId="{5563A8B3-E762-284D-A9AF-6F8879B1C7C3}" dt="2024-05-14T04:01:25.653" v="2517"/>
          <ac:spMkLst>
            <pc:docMk/>
            <pc:sldMk cId="2445939266" sldId="270"/>
            <ac:spMk id="3" creationId="{6EC3436B-26CE-A5A0-41BD-7D7BA244DE56}"/>
          </ac:spMkLst>
        </pc:spChg>
        <pc:spChg chg="mod">
          <ac:chgData name="Liang Yang" userId="7a7c13a3-d26c-494d-9577-22c5c3f8a804" providerId="ADAL" clId="{5563A8B3-E762-284D-A9AF-6F8879B1C7C3}" dt="2024-05-14T04:25:13.147" v="2821" actId="20577"/>
          <ac:spMkLst>
            <pc:docMk/>
            <pc:sldMk cId="2445939266" sldId="270"/>
            <ac:spMk id="1024" creationId="{ED90FD5B-96CE-065D-E155-244BE0AD98EA}"/>
          </ac:spMkLst>
        </pc:spChg>
        <pc:spChg chg="mod">
          <ac:chgData name="Liang Yang" userId="7a7c13a3-d26c-494d-9577-22c5c3f8a804" providerId="ADAL" clId="{5563A8B3-E762-284D-A9AF-6F8879B1C7C3}" dt="2024-05-14T04:25:58.019" v="2886" actId="20577"/>
          <ac:spMkLst>
            <pc:docMk/>
            <pc:sldMk cId="2445939266" sldId="270"/>
            <ac:spMk id="1051" creationId="{00EBEE05-A74B-8481-9379-EFAE3E5D2C12}"/>
          </ac:spMkLst>
        </pc:spChg>
        <pc:graphicFrameChg chg="mod">
          <ac:chgData name="Liang Yang" userId="7a7c13a3-d26c-494d-9577-22c5c3f8a804" providerId="ADAL" clId="{5563A8B3-E762-284D-A9AF-6F8879B1C7C3}" dt="2024-05-14T04:01:25.657" v="2519"/>
          <ac:graphicFrameMkLst>
            <pc:docMk/>
            <pc:sldMk cId="2445939266" sldId="270"/>
            <ac:graphicFrameMk id="4" creationId="{B0DF492E-9842-C18F-58FA-A416AC8482E4}"/>
          </ac:graphicFrameMkLst>
        </pc:graphicFrameChg>
      </pc:sldChg>
      <pc:sldChg chg="addSp delSp modSp mod">
        <pc:chgData name="Liang Yang" userId="7a7c13a3-d26c-494d-9577-22c5c3f8a804" providerId="ADAL" clId="{5563A8B3-E762-284D-A9AF-6F8879B1C7C3}" dt="2024-05-14T04:28:03.659" v="2961" actId="1035"/>
        <pc:sldMkLst>
          <pc:docMk/>
          <pc:sldMk cId="1597081" sldId="271"/>
        </pc:sldMkLst>
        <pc:spChg chg="mod">
          <ac:chgData name="Liang Yang" userId="7a7c13a3-d26c-494d-9577-22c5c3f8a804" providerId="ADAL" clId="{5563A8B3-E762-284D-A9AF-6F8879B1C7C3}" dt="2024-05-14T04:01:35.468" v="2550" actId="948"/>
          <ac:spMkLst>
            <pc:docMk/>
            <pc:sldMk cId="1597081" sldId="271"/>
            <ac:spMk id="2" creationId="{CBADF92F-4066-F747-AAEF-597A8340E927}"/>
          </ac:spMkLst>
        </pc:spChg>
        <pc:spChg chg="add del mod modVis">
          <ac:chgData name="Liang Yang" userId="7a7c13a3-d26c-494d-9577-22c5c3f8a804" providerId="ADAL" clId="{5563A8B3-E762-284D-A9AF-6F8879B1C7C3}" dt="2024-05-14T04:01:35.543" v="2583"/>
          <ac:spMkLst>
            <pc:docMk/>
            <pc:sldMk cId="1597081" sldId="271"/>
            <ac:spMk id="3" creationId="{958B5E91-6568-CFD7-EFBB-786A76593AB9}"/>
          </ac:spMkLst>
        </pc:spChg>
        <pc:spChg chg="mod">
          <ac:chgData name="Liang Yang" userId="7a7c13a3-d26c-494d-9577-22c5c3f8a804" providerId="ADAL" clId="{5563A8B3-E762-284D-A9AF-6F8879B1C7C3}" dt="2024-05-14T04:28:03.659" v="2961" actId="1035"/>
          <ac:spMkLst>
            <pc:docMk/>
            <pc:sldMk cId="1597081" sldId="271"/>
            <ac:spMk id="43" creationId="{B7F0E4DF-9079-F1CB-2598-C772A8C3BDB4}"/>
          </ac:spMkLst>
        </pc:spChg>
        <pc:graphicFrameChg chg="mod">
          <ac:chgData name="Liang Yang" userId="7a7c13a3-d26c-494d-9577-22c5c3f8a804" providerId="ADAL" clId="{5563A8B3-E762-284D-A9AF-6F8879B1C7C3}" dt="2024-05-14T04:01:35.546" v="2585"/>
          <ac:graphicFrameMkLst>
            <pc:docMk/>
            <pc:sldMk cId="1597081" sldId="271"/>
            <ac:graphicFrameMk id="4" creationId="{B0DF492E-9842-C18F-58FA-A416AC8482E4}"/>
          </ac:graphicFrameMkLst>
        </pc:graphicFrameChg>
        <pc:picChg chg="add del">
          <ac:chgData name="Liang Yang" userId="7a7c13a3-d26c-494d-9577-22c5c3f8a804" providerId="ADAL" clId="{5563A8B3-E762-284D-A9AF-6F8879B1C7C3}" dt="2024-05-14T04:07:00.175" v="2596" actId="478"/>
          <ac:picMkLst>
            <pc:docMk/>
            <pc:sldMk cId="1597081" sldId="271"/>
            <ac:picMk id="2052" creationId="{524835E6-389C-B2AB-D10C-3C665A60F202}"/>
          </ac:picMkLst>
        </pc:picChg>
      </pc:sldChg>
      <pc:sldChg chg="addSp delSp modSp mod">
        <pc:chgData name="Liang Yang" userId="7a7c13a3-d26c-494d-9577-22c5c3f8a804" providerId="ADAL" clId="{5563A8B3-E762-284D-A9AF-6F8879B1C7C3}" dt="2024-05-14T06:12:57.274" v="9877" actId="14100"/>
        <pc:sldMkLst>
          <pc:docMk/>
          <pc:sldMk cId="2431246279" sldId="273"/>
        </pc:sldMkLst>
        <pc:spChg chg="mod">
          <ac:chgData name="Liang Yang" userId="7a7c13a3-d26c-494d-9577-22c5c3f8a804" providerId="ADAL" clId="{5563A8B3-E762-284D-A9AF-6F8879B1C7C3}" dt="2024-05-14T04:49:25.409" v="3638"/>
          <ac:spMkLst>
            <pc:docMk/>
            <pc:sldMk cId="2431246279" sldId="273"/>
            <ac:spMk id="2" creationId="{CBADF92F-4066-F747-AAEF-597A8340E927}"/>
          </ac:spMkLst>
        </pc:spChg>
        <pc:spChg chg="add del mod">
          <ac:chgData name="Liang Yang" userId="7a7c13a3-d26c-494d-9577-22c5c3f8a804" providerId="ADAL" clId="{5563A8B3-E762-284D-A9AF-6F8879B1C7C3}" dt="2024-05-14T04:07:07.573" v="2598" actId="478"/>
          <ac:spMkLst>
            <pc:docMk/>
            <pc:sldMk cId="2431246279" sldId="273"/>
            <ac:spMk id="3" creationId="{F66CB880-0F22-0911-9FC1-F77782712708}"/>
          </ac:spMkLst>
        </pc:spChg>
        <pc:spChg chg="add mod">
          <ac:chgData name="Liang Yang" userId="7a7c13a3-d26c-494d-9577-22c5c3f8a804" providerId="ADAL" clId="{5563A8B3-E762-284D-A9AF-6F8879B1C7C3}" dt="2024-05-14T04:51:08.394" v="3671" actId="1076"/>
          <ac:spMkLst>
            <pc:docMk/>
            <pc:sldMk cId="2431246279" sldId="273"/>
            <ac:spMk id="6" creationId="{6C606C48-D868-0ADA-DBFA-CDCA7DBAD28D}"/>
          </ac:spMkLst>
        </pc:spChg>
        <pc:spChg chg="add del mod modVis">
          <ac:chgData name="Liang Yang" userId="7a7c13a3-d26c-494d-9577-22c5c3f8a804" providerId="ADAL" clId="{5563A8B3-E762-284D-A9AF-6F8879B1C7C3}" dt="2024-05-14T03:53:19.317" v="58"/>
          <ac:spMkLst>
            <pc:docMk/>
            <pc:sldMk cId="2431246279" sldId="273"/>
            <ac:spMk id="8" creationId="{726A18CE-8333-E0A7-BB78-B6DCB78498E6}"/>
          </ac:spMkLst>
        </pc:spChg>
        <pc:spChg chg="mod">
          <ac:chgData name="Liang Yang" userId="7a7c13a3-d26c-494d-9577-22c5c3f8a804" providerId="ADAL" clId="{5563A8B3-E762-284D-A9AF-6F8879B1C7C3}" dt="2024-05-14T04:49:25.411" v="3640"/>
          <ac:spMkLst>
            <pc:docMk/>
            <pc:sldMk cId="2431246279" sldId="273"/>
            <ac:spMk id="9" creationId="{76AF5A67-A96D-A899-BB90-0F6D84AFF91B}"/>
          </ac:spMkLst>
        </pc:spChg>
        <pc:spChg chg="add del mod modVis">
          <ac:chgData name="Liang Yang" userId="7a7c13a3-d26c-494d-9577-22c5c3f8a804" providerId="ADAL" clId="{5563A8B3-E762-284D-A9AF-6F8879B1C7C3}" dt="2024-05-14T03:53:20.063" v="89"/>
          <ac:spMkLst>
            <pc:docMk/>
            <pc:sldMk cId="2431246279" sldId="273"/>
            <ac:spMk id="10" creationId="{23922589-3A78-DB91-BE0B-492C0F098D08}"/>
          </ac:spMkLst>
        </pc:spChg>
        <pc:spChg chg="add del mod modVis">
          <ac:chgData name="Liang Yang" userId="7a7c13a3-d26c-494d-9577-22c5c3f8a804" providerId="ADAL" clId="{5563A8B3-E762-284D-A9AF-6F8879B1C7C3}" dt="2024-05-14T03:53:20.701" v="118"/>
          <ac:spMkLst>
            <pc:docMk/>
            <pc:sldMk cId="2431246279" sldId="273"/>
            <ac:spMk id="11" creationId="{23C1796B-827E-F8BE-CA1F-DF8114172D98}"/>
          </ac:spMkLst>
        </pc:spChg>
        <pc:spChg chg="add del mod modVis">
          <ac:chgData name="Liang Yang" userId="7a7c13a3-d26c-494d-9577-22c5c3f8a804" providerId="ADAL" clId="{5563A8B3-E762-284D-A9AF-6F8879B1C7C3}" dt="2024-05-14T03:53:22.701" v="151"/>
          <ac:spMkLst>
            <pc:docMk/>
            <pc:sldMk cId="2431246279" sldId="273"/>
            <ac:spMk id="12" creationId="{4C59A1A3-042C-982B-EA49-54BF8B4AD70B}"/>
          </ac:spMkLst>
        </pc:spChg>
        <pc:spChg chg="mod">
          <ac:chgData name="Liang Yang" userId="7a7c13a3-d26c-494d-9577-22c5c3f8a804" providerId="ADAL" clId="{5563A8B3-E762-284D-A9AF-6F8879B1C7C3}" dt="2024-05-14T04:49:25.412" v="3641"/>
          <ac:spMkLst>
            <pc:docMk/>
            <pc:sldMk cId="2431246279" sldId="273"/>
            <ac:spMk id="13" creationId="{4D675EC5-B653-FCEB-618B-4A9F1B355FF6}"/>
          </ac:spMkLst>
        </pc:spChg>
        <pc:spChg chg="mod">
          <ac:chgData name="Liang Yang" userId="7a7c13a3-d26c-494d-9577-22c5c3f8a804" providerId="ADAL" clId="{5563A8B3-E762-284D-A9AF-6F8879B1C7C3}" dt="2024-05-14T04:49:25.413" v="3642"/>
          <ac:spMkLst>
            <pc:docMk/>
            <pc:sldMk cId="2431246279" sldId="273"/>
            <ac:spMk id="14" creationId="{60DBA03E-5ECF-3230-05FA-59BF9D9BBECA}"/>
          </ac:spMkLst>
        </pc:spChg>
        <pc:spChg chg="del mod">
          <ac:chgData name="Liang Yang" userId="7a7c13a3-d26c-494d-9577-22c5c3f8a804" providerId="ADAL" clId="{5563A8B3-E762-284D-A9AF-6F8879B1C7C3}" dt="2024-05-14T04:07:07.573" v="2598" actId="478"/>
          <ac:spMkLst>
            <pc:docMk/>
            <pc:sldMk cId="2431246279" sldId="273"/>
            <ac:spMk id="15" creationId="{EE6C93A7-D0AA-06F7-00AE-58A28EE5E384}"/>
          </ac:spMkLst>
        </pc:spChg>
        <pc:spChg chg="add del mod modVis">
          <ac:chgData name="Liang Yang" userId="7a7c13a3-d26c-494d-9577-22c5c3f8a804" providerId="ADAL" clId="{5563A8B3-E762-284D-A9AF-6F8879B1C7C3}" dt="2024-05-14T03:53:27.507" v="206"/>
          <ac:spMkLst>
            <pc:docMk/>
            <pc:sldMk cId="2431246279" sldId="273"/>
            <ac:spMk id="16" creationId="{BD215DE2-B629-D5F6-C4B8-35BC00E1A635}"/>
          </ac:spMkLst>
        </pc:spChg>
        <pc:spChg chg="del">
          <ac:chgData name="Liang Yang" userId="7a7c13a3-d26c-494d-9577-22c5c3f8a804" providerId="ADAL" clId="{5563A8B3-E762-284D-A9AF-6F8879B1C7C3}" dt="2024-05-14T03:52:38.462" v="1" actId="21"/>
          <ac:spMkLst>
            <pc:docMk/>
            <pc:sldMk cId="2431246279" sldId="273"/>
            <ac:spMk id="17" creationId="{C3498507-3814-BFFE-8CC1-EA5D81A8E3FB}"/>
          </ac:spMkLst>
        </pc:spChg>
        <pc:spChg chg="add del mod modVis">
          <ac:chgData name="Liang Yang" userId="7a7c13a3-d26c-494d-9577-22c5c3f8a804" providerId="ADAL" clId="{5563A8B3-E762-284D-A9AF-6F8879B1C7C3}" dt="2024-05-14T03:53:28.559" v="239"/>
          <ac:spMkLst>
            <pc:docMk/>
            <pc:sldMk cId="2431246279" sldId="273"/>
            <ac:spMk id="18" creationId="{1415FC6F-82E4-F50E-5DF1-FDCE1742FF8A}"/>
          </ac:spMkLst>
        </pc:spChg>
        <pc:spChg chg="del">
          <ac:chgData name="Liang Yang" userId="7a7c13a3-d26c-494d-9577-22c5c3f8a804" providerId="ADAL" clId="{5563A8B3-E762-284D-A9AF-6F8879B1C7C3}" dt="2024-05-14T03:52:38.462" v="1" actId="21"/>
          <ac:spMkLst>
            <pc:docMk/>
            <pc:sldMk cId="2431246279" sldId="273"/>
            <ac:spMk id="20" creationId="{B707A3B2-885B-7D16-9A3E-CC7EF3985BD4}"/>
          </ac:spMkLst>
        </pc:spChg>
        <pc:spChg chg="add del mod modVis">
          <ac:chgData name="Liang Yang" userId="7a7c13a3-d26c-494d-9577-22c5c3f8a804" providerId="ADAL" clId="{5563A8B3-E762-284D-A9AF-6F8879B1C7C3}" dt="2024-05-14T03:53:30.558" v="276"/>
          <ac:spMkLst>
            <pc:docMk/>
            <pc:sldMk cId="2431246279" sldId="273"/>
            <ac:spMk id="21" creationId="{3F5CB6D3-62A5-2EDF-F74D-4BBF36690D17}"/>
          </ac:spMkLst>
        </pc:spChg>
        <pc:spChg chg="add del mod">
          <ac:chgData name="Liang Yang" userId="7a7c13a3-d26c-494d-9577-22c5c3f8a804" providerId="ADAL" clId="{5563A8B3-E762-284D-A9AF-6F8879B1C7C3}" dt="2024-05-14T04:37:35.340" v="3033" actId="478"/>
          <ac:spMkLst>
            <pc:docMk/>
            <pc:sldMk cId="2431246279" sldId="273"/>
            <ac:spMk id="21" creationId="{C553300D-7238-029F-56EB-BB3AB66E956F}"/>
          </ac:spMkLst>
        </pc:spChg>
        <pc:spChg chg="add mod">
          <ac:chgData name="Liang Yang" userId="7a7c13a3-d26c-494d-9577-22c5c3f8a804" providerId="ADAL" clId="{5563A8B3-E762-284D-A9AF-6F8879B1C7C3}" dt="2024-05-14T04:49:25.419" v="3650"/>
          <ac:spMkLst>
            <pc:docMk/>
            <pc:sldMk cId="2431246279" sldId="273"/>
            <ac:spMk id="22" creationId="{A0DA93DC-B8C3-5067-DFF9-8A61C599FA1E}"/>
          </ac:spMkLst>
        </pc:spChg>
        <pc:spChg chg="add mod">
          <ac:chgData name="Liang Yang" userId="7a7c13a3-d26c-494d-9577-22c5c3f8a804" providerId="ADAL" clId="{5563A8B3-E762-284D-A9AF-6F8879B1C7C3}" dt="2024-05-14T04:47:58.001" v="3601"/>
          <ac:spMkLst>
            <pc:docMk/>
            <pc:sldMk cId="2431246279" sldId="273"/>
            <ac:spMk id="23" creationId="{DC228AFA-1BD2-5E32-6453-4A941DDC4416}"/>
          </ac:spMkLst>
        </pc:spChg>
        <pc:spChg chg="add del mod modVis">
          <ac:chgData name="Liang Yang" userId="7a7c13a3-d26c-494d-9577-22c5c3f8a804" providerId="ADAL" clId="{5563A8B3-E762-284D-A9AF-6F8879B1C7C3}" dt="2024-05-14T03:53:32.581" v="310"/>
          <ac:spMkLst>
            <pc:docMk/>
            <pc:sldMk cId="2431246279" sldId="273"/>
            <ac:spMk id="23" creationId="{F9407E86-B326-6828-0227-3265F45DCBE9}"/>
          </ac:spMkLst>
        </pc:spChg>
        <pc:spChg chg="add del mod modVis">
          <ac:chgData name="Liang Yang" userId="7a7c13a3-d26c-494d-9577-22c5c3f8a804" providerId="ADAL" clId="{5563A8B3-E762-284D-A9AF-6F8879B1C7C3}" dt="2024-05-14T03:53:34.480" v="340"/>
          <ac:spMkLst>
            <pc:docMk/>
            <pc:sldMk cId="2431246279" sldId="273"/>
            <ac:spMk id="24" creationId="{5CA51551-6559-73B3-96CC-8C8AD11ABDD2}"/>
          </ac:spMkLst>
        </pc:spChg>
        <pc:spChg chg="add del mod">
          <ac:chgData name="Liang Yang" userId="7a7c13a3-d26c-494d-9577-22c5c3f8a804" providerId="ADAL" clId="{5563A8B3-E762-284D-A9AF-6F8879B1C7C3}" dt="2024-05-14T04:48:00.110" v="3603" actId="478"/>
          <ac:spMkLst>
            <pc:docMk/>
            <pc:sldMk cId="2431246279" sldId="273"/>
            <ac:spMk id="24" creationId="{DC14BC2F-BAC0-FD18-055A-F9029D03D943}"/>
          </ac:spMkLst>
        </pc:spChg>
        <pc:spChg chg="add del mod modVis">
          <ac:chgData name="Liang Yang" userId="7a7c13a3-d26c-494d-9577-22c5c3f8a804" providerId="ADAL" clId="{5563A8B3-E762-284D-A9AF-6F8879B1C7C3}" dt="2024-05-14T03:53:54.140" v="375"/>
          <ac:spMkLst>
            <pc:docMk/>
            <pc:sldMk cId="2431246279" sldId="273"/>
            <ac:spMk id="25" creationId="{83088D3C-39E4-FEBC-248C-6B8A7C1F415B}"/>
          </ac:spMkLst>
        </pc:spChg>
        <pc:spChg chg="add del mod modVis">
          <ac:chgData name="Liang Yang" userId="7a7c13a3-d26c-494d-9577-22c5c3f8a804" providerId="ADAL" clId="{5563A8B3-E762-284D-A9AF-6F8879B1C7C3}" dt="2024-05-14T03:53:55.248" v="408"/>
          <ac:spMkLst>
            <pc:docMk/>
            <pc:sldMk cId="2431246279" sldId="273"/>
            <ac:spMk id="26" creationId="{8BD4D407-BFD0-45C8-0604-1DD7B171C93E}"/>
          </ac:spMkLst>
        </pc:spChg>
        <pc:spChg chg="add del mod topLvl">
          <ac:chgData name="Liang Yang" userId="7a7c13a3-d26c-494d-9577-22c5c3f8a804" providerId="ADAL" clId="{5563A8B3-E762-284D-A9AF-6F8879B1C7C3}" dt="2024-05-14T04:48:35.016" v="3609" actId="478"/>
          <ac:spMkLst>
            <pc:docMk/>
            <pc:sldMk cId="2431246279" sldId="273"/>
            <ac:spMk id="27" creationId="{1982CBC5-DF7F-22C4-095D-00EDF408C9CE}"/>
          </ac:spMkLst>
        </pc:spChg>
        <pc:spChg chg="add del mod modVis">
          <ac:chgData name="Liang Yang" userId="7a7c13a3-d26c-494d-9577-22c5c3f8a804" providerId="ADAL" clId="{5563A8B3-E762-284D-A9AF-6F8879B1C7C3}" dt="2024-05-14T03:53:58.387" v="453"/>
          <ac:spMkLst>
            <pc:docMk/>
            <pc:sldMk cId="2431246279" sldId="273"/>
            <ac:spMk id="27" creationId="{A2236A41-75A6-BC92-F6A5-C1B321CC8745}"/>
          </ac:spMkLst>
        </pc:spChg>
        <pc:spChg chg="add del mod modVis">
          <ac:chgData name="Liang Yang" userId="7a7c13a3-d26c-494d-9577-22c5c3f8a804" providerId="ADAL" clId="{5563A8B3-E762-284D-A9AF-6F8879B1C7C3}" dt="2024-05-14T03:54:00.761" v="490"/>
          <ac:spMkLst>
            <pc:docMk/>
            <pc:sldMk cId="2431246279" sldId="273"/>
            <ac:spMk id="28" creationId="{30C500D2-252F-1FDE-6F76-9F61DDFC9B45}"/>
          </ac:spMkLst>
        </pc:spChg>
        <pc:spChg chg="add del mod modVis">
          <ac:chgData name="Liang Yang" userId="7a7c13a3-d26c-494d-9577-22c5c3f8a804" providerId="ADAL" clId="{5563A8B3-E762-284D-A9AF-6F8879B1C7C3}" dt="2024-05-14T04:49:25.426" v="3654"/>
          <ac:spMkLst>
            <pc:docMk/>
            <pc:sldMk cId="2431246279" sldId="273"/>
            <ac:spMk id="28" creationId="{7532CC8C-083D-1063-F28D-A60EDA09E6EC}"/>
          </ac:spMkLst>
        </pc:spChg>
        <pc:spChg chg="add del mod modVis">
          <ac:chgData name="Liang Yang" userId="7a7c13a3-d26c-494d-9577-22c5c3f8a804" providerId="ADAL" clId="{5563A8B3-E762-284D-A9AF-6F8879B1C7C3}" dt="2024-05-14T03:54:02.210" v="523"/>
          <ac:spMkLst>
            <pc:docMk/>
            <pc:sldMk cId="2431246279" sldId="273"/>
            <ac:spMk id="29" creationId="{416606CB-A16A-517D-D695-0DB9B5254416}"/>
          </ac:spMkLst>
        </pc:spChg>
        <pc:spChg chg="add mod">
          <ac:chgData name="Liang Yang" userId="7a7c13a3-d26c-494d-9577-22c5c3f8a804" providerId="ADAL" clId="{5563A8B3-E762-284D-A9AF-6F8879B1C7C3}" dt="2024-05-14T06:12:57.274" v="9877" actId="14100"/>
          <ac:spMkLst>
            <pc:docMk/>
            <pc:sldMk cId="2431246279" sldId="273"/>
            <ac:spMk id="29" creationId="{D8686725-98D9-B923-48B3-F66A1EEB4B3C}"/>
          </ac:spMkLst>
        </pc:spChg>
        <pc:spChg chg="add del mod modVis">
          <ac:chgData name="Liang Yang" userId="7a7c13a3-d26c-494d-9577-22c5c3f8a804" providerId="ADAL" clId="{5563A8B3-E762-284D-A9AF-6F8879B1C7C3}" dt="2024-05-14T03:54:07.514" v="556"/>
          <ac:spMkLst>
            <pc:docMk/>
            <pc:sldMk cId="2431246279" sldId="273"/>
            <ac:spMk id="30" creationId="{200E620A-3A5A-3BA5-80AD-A8AF83F9D821}"/>
          </ac:spMkLst>
        </pc:spChg>
        <pc:spChg chg="add del mod modVis">
          <ac:chgData name="Liang Yang" userId="7a7c13a3-d26c-494d-9577-22c5c3f8a804" providerId="ADAL" clId="{5563A8B3-E762-284D-A9AF-6F8879B1C7C3}" dt="2024-05-14T03:54:09.215" v="594"/>
          <ac:spMkLst>
            <pc:docMk/>
            <pc:sldMk cId="2431246279" sldId="273"/>
            <ac:spMk id="31" creationId="{475469A7-CC85-397B-C57E-23477D0998C0}"/>
          </ac:spMkLst>
        </pc:spChg>
        <pc:spChg chg="add del mod modVis">
          <ac:chgData name="Liang Yang" userId="7a7c13a3-d26c-494d-9577-22c5c3f8a804" providerId="ADAL" clId="{5563A8B3-E762-284D-A9AF-6F8879B1C7C3}" dt="2024-05-14T03:54:13.324" v="638"/>
          <ac:spMkLst>
            <pc:docMk/>
            <pc:sldMk cId="2431246279" sldId="273"/>
            <ac:spMk id="32" creationId="{6AC9E3F3-59FF-C3F7-B1EA-0BBE11F3CC2E}"/>
          </ac:spMkLst>
        </pc:spChg>
        <pc:spChg chg="add del mod modVis">
          <ac:chgData name="Liang Yang" userId="7a7c13a3-d26c-494d-9577-22c5c3f8a804" providerId="ADAL" clId="{5563A8B3-E762-284D-A9AF-6F8879B1C7C3}" dt="2024-05-14T03:54:13.968" v="667"/>
          <ac:spMkLst>
            <pc:docMk/>
            <pc:sldMk cId="2431246279" sldId="273"/>
            <ac:spMk id="33" creationId="{2D7ECAA8-4D44-CE1D-3612-E21AA13AD31C}"/>
          </ac:spMkLst>
        </pc:spChg>
        <pc:spChg chg="add del mod modVis">
          <ac:chgData name="Liang Yang" userId="7a7c13a3-d26c-494d-9577-22c5c3f8a804" providerId="ADAL" clId="{5563A8B3-E762-284D-A9AF-6F8879B1C7C3}" dt="2024-05-14T03:54:14.542" v="696"/>
          <ac:spMkLst>
            <pc:docMk/>
            <pc:sldMk cId="2431246279" sldId="273"/>
            <ac:spMk id="34" creationId="{101E808D-8962-D990-40A7-28F2D279EC26}"/>
          </ac:spMkLst>
        </pc:spChg>
        <pc:spChg chg="add del mod modVis">
          <ac:chgData name="Liang Yang" userId="7a7c13a3-d26c-494d-9577-22c5c3f8a804" providerId="ADAL" clId="{5563A8B3-E762-284D-A9AF-6F8879B1C7C3}" dt="2024-05-14T03:54:31.503" v="741"/>
          <ac:spMkLst>
            <pc:docMk/>
            <pc:sldMk cId="2431246279" sldId="273"/>
            <ac:spMk id="35" creationId="{D405CED5-FCD5-C5E3-14E9-F9994E936481}"/>
          </ac:spMkLst>
        </pc:spChg>
        <pc:spChg chg="add del mod modVis">
          <ac:chgData name="Liang Yang" userId="7a7c13a3-d26c-494d-9577-22c5c3f8a804" providerId="ADAL" clId="{5563A8B3-E762-284D-A9AF-6F8879B1C7C3}" dt="2024-05-14T03:54:33.870" v="777"/>
          <ac:spMkLst>
            <pc:docMk/>
            <pc:sldMk cId="2431246279" sldId="273"/>
            <ac:spMk id="36" creationId="{13D56364-8014-90A8-664C-067C28451E6D}"/>
          </ac:spMkLst>
        </pc:spChg>
        <pc:spChg chg="add del mod modVis">
          <ac:chgData name="Liang Yang" userId="7a7c13a3-d26c-494d-9577-22c5c3f8a804" providerId="ADAL" clId="{5563A8B3-E762-284D-A9AF-6F8879B1C7C3}" dt="2024-05-14T03:54:34.260" v="806"/>
          <ac:spMkLst>
            <pc:docMk/>
            <pc:sldMk cId="2431246279" sldId="273"/>
            <ac:spMk id="37" creationId="{7FB285CA-359B-7AD6-AF00-6330DED9EA07}"/>
          </ac:spMkLst>
        </pc:spChg>
        <pc:spChg chg="mod">
          <ac:chgData name="Liang Yang" userId="7a7c13a3-d26c-494d-9577-22c5c3f8a804" providerId="ADAL" clId="{5563A8B3-E762-284D-A9AF-6F8879B1C7C3}" dt="2024-05-14T04:49:25.410" v="3639"/>
          <ac:spMkLst>
            <pc:docMk/>
            <pc:sldMk cId="2431246279" sldId="273"/>
            <ac:spMk id="38" creationId="{63211A1B-4929-FEE4-C162-818C781E9621}"/>
          </ac:spMkLst>
        </pc:spChg>
        <pc:spChg chg="add del mod modVis">
          <ac:chgData name="Liang Yang" userId="7a7c13a3-d26c-494d-9577-22c5c3f8a804" providerId="ADAL" clId="{5563A8B3-E762-284D-A9AF-6F8879B1C7C3}" dt="2024-05-14T03:54:36.035" v="841"/>
          <ac:spMkLst>
            <pc:docMk/>
            <pc:sldMk cId="2431246279" sldId="273"/>
            <ac:spMk id="39" creationId="{652D2D35-DEF5-AF7E-762A-3559681DA1FB}"/>
          </ac:spMkLst>
        </pc:spChg>
        <pc:spChg chg="add del mod modVis">
          <ac:chgData name="Liang Yang" userId="7a7c13a3-d26c-494d-9577-22c5c3f8a804" providerId="ADAL" clId="{5563A8B3-E762-284D-A9AF-6F8879B1C7C3}" dt="2024-05-14T03:54:38.780" v="883"/>
          <ac:spMkLst>
            <pc:docMk/>
            <pc:sldMk cId="2431246279" sldId="273"/>
            <ac:spMk id="40" creationId="{57D5D911-D159-B095-6CB5-0637490828B8}"/>
          </ac:spMkLst>
        </pc:spChg>
        <pc:spChg chg="add del mod modVis">
          <ac:chgData name="Liang Yang" userId="7a7c13a3-d26c-494d-9577-22c5c3f8a804" providerId="ADAL" clId="{5563A8B3-E762-284D-A9AF-6F8879B1C7C3}" dt="2024-05-14T03:54:41.127" v="925"/>
          <ac:spMkLst>
            <pc:docMk/>
            <pc:sldMk cId="2431246279" sldId="273"/>
            <ac:spMk id="41" creationId="{7FE01C05-636A-9067-C0F3-DCBF64F6AB7B}"/>
          </ac:spMkLst>
        </pc:spChg>
        <pc:spChg chg="add del mod modVis">
          <ac:chgData name="Liang Yang" userId="7a7c13a3-d26c-494d-9577-22c5c3f8a804" providerId="ADAL" clId="{5563A8B3-E762-284D-A9AF-6F8879B1C7C3}" dt="2024-05-14T03:54:43.518" v="961"/>
          <ac:spMkLst>
            <pc:docMk/>
            <pc:sldMk cId="2431246279" sldId="273"/>
            <ac:spMk id="42" creationId="{82F2BED8-4242-4DFC-E11C-5BC887D4FC02}"/>
          </ac:spMkLst>
        </pc:spChg>
        <pc:spChg chg="add del mod modVis">
          <ac:chgData name="Liang Yang" userId="7a7c13a3-d26c-494d-9577-22c5c3f8a804" providerId="ADAL" clId="{5563A8B3-E762-284D-A9AF-6F8879B1C7C3}" dt="2024-05-14T03:54:44.785" v="992"/>
          <ac:spMkLst>
            <pc:docMk/>
            <pc:sldMk cId="2431246279" sldId="273"/>
            <ac:spMk id="43" creationId="{554D1B8F-ED79-7044-F8D5-EFC3999D2D3A}"/>
          </ac:spMkLst>
        </pc:spChg>
        <pc:spChg chg="add del mod modVis">
          <ac:chgData name="Liang Yang" userId="7a7c13a3-d26c-494d-9577-22c5c3f8a804" providerId="ADAL" clId="{5563A8B3-E762-284D-A9AF-6F8879B1C7C3}" dt="2024-05-14T03:54:50.283" v="1029"/>
          <ac:spMkLst>
            <pc:docMk/>
            <pc:sldMk cId="2431246279" sldId="273"/>
            <ac:spMk id="44" creationId="{EF1A5714-2BF8-2318-4FC2-6E3638CB3DE0}"/>
          </ac:spMkLst>
        </pc:spChg>
        <pc:spChg chg="add del mod modVis">
          <ac:chgData name="Liang Yang" userId="7a7c13a3-d26c-494d-9577-22c5c3f8a804" providerId="ADAL" clId="{5563A8B3-E762-284D-A9AF-6F8879B1C7C3}" dt="2024-05-14T03:54:51.775" v="1059"/>
          <ac:spMkLst>
            <pc:docMk/>
            <pc:sldMk cId="2431246279" sldId="273"/>
            <ac:spMk id="45" creationId="{F50B636E-EE5D-6A00-9567-EE5AAFB049C7}"/>
          </ac:spMkLst>
        </pc:spChg>
        <pc:spChg chg="add del mod modVis">
          <ac:chgData name="Liang Yang" userId="7a7c13a3-d26c-494d-9577-22c5c3f8a804" providerId="ADAL" clId="{5563A8B3-E762-284D-A9AF-6F8879B1C7C3}" dt="2024-05-14T03:54:54.374" v="1092"/>
          <ac:spMkLst>
            <pc:docMk/>
            <pc:sldMk cId="2431246279" sldId="273"/>
            <ac:spMk id="46" creationId="{D2510422-EB71-6FA4-B713-C641092B518A}"/>
          </ac:spMkLst>
        </pc:spChg>
        <pc:spChg chg="add del mod modVis">
          <ac:chgData name="Liang Yang" userId="7a7c13a3-d26c-494d-9577-22c5c3f8a804" providerId="ADAL" clId="{5563A8B3-E762-284D-A9AF-6F8879B1C7C3}" dt="2024-05-14T03:54:55.371" v="1125"/>
          <ac:spMkLst>
            <pc:docMk/>
            <pc:sldMk cId="2431246279" sldId="273"/>
            <ac:spMk id="47" creationId="{F8B208C6-EC69-4FC6-DF0E-88F9DFD760B9}"/>
          </ac:spMkLst>
        </pc:spChg>
        <pc:spChg chg="add del mod modVis">
          <ac:chgData name="Liang Yang" userId="7a7c13a3-d26c-494d-9577-22c5c3f8a804" providerId="ADAL" clId="{5563A8B3-E762-284D-A9AF-6F8879B1C7C3}" dt="2024-05-14T03:54:59.002" v="1158"/>
          <ac:spMkLst>
            <pc:docMk/>
            <pc:sldMk cId="2431246279" sldId="273"/>
            <ac:spMk id="48" creationId="{85569833-600F-9D36-D2CE-204313F07D2A}"/>
          </ac:spMkLst>
        </pc:spChg>
        <pc:spChg chg="add del mod modVis">
          <ac:chgData name="Liang Yang" userId="7a7c13a3-d26c-494d-9577-22c5c3f8a804" providerId="ADAL" clId="{5563A8B3-E762-284D-A9AF-6F8879B1C7C3}" dt="2024-05-14T03:54:59.773" v="1188"/>
          <ac:spMkLst>
            <pc:docMk/>
            <pc:sldMk cId="2431246279" sldId="273"/>
            <ac:spMk id="49" creationId="{341A94BE-180D-0C32-D57C-C6D7791AC59F}"/>
          </ac:spMkLst>
        </pc:spChg>
        <pc:spChg chg="add del mod modVis">
          <ac:chgData name="Liang Yang" userId="7a7c13a3-d26c-494d-9577-22c5c3f8a804" providerId="ADAL" clId="{5563A8B3-E762-284D-A9AF-6F8879B1C7C3}" dt="2024-05-14T03:55:01.980" v="1225"/>
          <ac:spMkLst>
            <pc:docMk/>
            <pc:sldMk cId="2431246279" sldId="273"/>
            <ac:spMk id="50" creationId="{11B4A9D3-2EB4-DF74-829C-3E4227171569}"/>
          </ac:spMkLst>
        </pc:spChg>
        <pc:spChg chg="add del mod modVis">
          <ac:chgData name="Liang Yang" userId="7a7c13a3-d26c-494d-9577-22c5c3f8a804" providerId="ADAL" clId="{5563A8B3-E762-284D-A9AF-6F8879B1C7C3}" dt="2024-05-14T03:55:02.632" v="1254"/>
          <ac:spMkLst>
            <pc:docMk/>
            <pc:sldMk cId="2431246279" sldId="273"/>
            <ac:spMk id="51" creationId="{1C879E59-FFF4-F41C-DD4C-0D35AA8B44F0}"/>
          </ac:spMkLst>
        </pc:spChg>
        <pc:spChg chg="add del mod modVis">
          <ac:chgData name="Liang Yang" userId="7a7c13a3-d26c-494d-9577-22c5c3f8a804" providerId="ADAL" clId="{5563A8B3-E762-284D-A9AF-6F8879B1C7C3}" dt="2024-05-14T03:55:05.906" v="1286"/>
          <ac:spMkLst>
            <pc:docMk/>
            <pc:sldMk cId="2431246279" sldId="273"/>
            <ac:spMk id="52" creationId="{93100868-CC85-3FF6-3559-F70F5D82E246}"/>
          </ac:spMkLst>
        </pc:spChg>
        <pc:spChg chg="add del mod modVis">
          <ac:chgData name="Liang Yang" userId="7a7c13a3-d26c-494d-9577-22c5c3f8a804" providerId="ADAL" clId="{5563A8B3-E762-284D-A9AF-6F8879B1C7C3}" dt="2024-05-14T03:55:07.957" v="1322"/>
          <ac:spMkLst>
            <pc:docMk/>
            <pc:sldMk cId="2431246279" sldId="273"/>
            <ac:spMk id="53" creationId="{A4CD0CCF-5772-09E5-5E50-B4D0FB3B1A78}"/>
          </ac:spMkLst>
        </pc:spChg>
        <pc:spChg chg="add del mod modVis">
          <ac:chgData name="Liang Yang" userId="7a7c13a3-d26c-494d-9577-22c5c3f8a804" providerId="ADAL" clId="{5563A8B3-E762-284D-A9AF-6F8879B1C7C3}" dt="2024-05-14T03:55:09.234" v="1356"/>
          <ac:spMkLst>
            <pc:docMk/>
            <pc:sldMk cId="2431246279" sldId="273"/>
            <ac:spMk id="54" creationId="{B2E4C702-CD36-704C-4EE0-F1F07480C277}"/>
          </ac:spMkLst>
        </pc:spChg>
        <pc:spChg chg="add del mod modVis">
          <ac:chgData name="Liang Yang" userId="7a7c13a3-d26c-494d-9577-22c5c3f8a804" providerId="ADAL" clId="{5563A8B3-E762-284D-A9AF-6F8879B1C7C3}" dt="2024-05-14T03:55:11.947" v="1390"/>
          <ac:spMkLst>
            <pc:docMk/>
            <pc:sldMk cId="2431246279" sldId="273"/>
            <ac:spMk id="55" creationId="{9C6A3F37-BF8C-5945-6C4F-7EE7A81759A5}"/>
          </ac:spMkLst>
        </pc:spChg>
        <pc:spChg chg="add del mod modVis">
          <ac:chgData name="Liang Yang" userId="7a7c13a3-d26c-494d-9577-22c5c3f8a804" providerId="ADAL" clId="{5563A8B3-E762-284D-A9AF-6F8879B1C7C3}" dt="2024-05-14T03:55:14.491" v="1423"/>
          <ac:spMkLst>
            <pc:docMk/>
            <pc:sldMk cId="2431246279" sldId="273"/>
            <ac:spMk id="56" creationId="{ED59B07E-DB31-1D5E-BC3F-577AD87399AD}"/>
          </ac:spMkLst>
        </pc:spChg>
        <pc:spChg chg="add del mod modVis">
          <ac:chgData name="Liang Yang" userId="7a7c13a3-d26c-494d-9577-22c5c3f8a804" providerId="ADAL" clId="{5563A8B3-E762-284D-A9AF-6F8879B1C7C3}" dt="2024-05-14T03:55:15.141" v="1452"/>
          <ac:spMkLst>
            <pc:docMk/>
            <pc:sldMk cId="2431246279" sldId="273"/>
            <ac:spMk id="57" creationId="{CB92E69E-BA5A-3059-2DA1-9EF8572A24B7}"/>
          </ac:spMkLst>
        </pc:spChg>
        <pc:spChg chg="add del mod modVis">
          <ac:chgData name="Liang Yang" userId="7a7c13a3-d26c-494d-9577-22c5c3f8a804" providerId="ADAL" clId="{5563A8B3-E762-284D-A9AF-6F8879B1C7C3}" dt="2024-05-14T03:55:16.114" v="1483"/>
          <ac:spMkLst>
            <pc:docMk/>
            <pc:sldMk cId="2431246279" sldId="273"/>
            <ac:spMk id="58" creationId="{81F175BB-658B-4462-FB5F-F09B3455AD65}"/>
          </ac:spMkLst>
        </pc:spChg>
        <pc:spChg chg="add del mod modVis">
          <ac:chgData name="Liang Yang" userId="7a7c13a3-d26c-494d-9577-22c5c3f8a804" providerId="ADAL" clId="{5563A8B3-E762-284D-A9AF-6F8879B1C7C3}" dt="2024-05-14T03:55:16.442" v="1512"/>
          <ac:spMkLst>
            <pc:docMk/>
            <pc:sldMk cId="2431246279" sldId="273"/>
            <ac:spMk id="59" creationId="{4B242C66-8831-7577-3985-E40D902D8295}"/>
          </ac:spMkLst>
        </pc:spChg>
        <pc:spChg chg="add del mod modVis">
          <ac:chgData name="Liang Yang" userId="7a7c13a3-d26c-494d-9577-22c5c3f8a804" providerId="ADAL" clId="{5563A8B3-E762-284D-A9AF-6F8879B1C7C3}" dt="2024-05-14T03:55:23.691" v="1543"/>
          <ac:spMkLst>
            <pc:docMk/>
            <pc:sldMk cId="2431246279" sldId="273"/>
            <ac:spMk id="60" creationId="{C48324F5-59F3-E86C-0BB4-95B5521CE513}"/>
          </ac:spMkLst>
        </pc:spChg>
        <pc:spChg chg="add del mod modVis">
          <ac:chgData name="Liang Yang" userId="7a7c13a3-d26c-494d-9577-22c5c3f8a804" providerId="ADAL" clId="{5563A8B3-E762-284D-A9AF-6F8879B1C7C3}" dt="2024-05-14T03:55:25.022" v="1576"/>
          <ac:spMkLst>
            <pc:docMk/>
            <pc:sldMk cId="2431246279" sldId="273"/>
            <ac:spMk id="61" creationId="{9FA3A753-68DE-9D86-28CB-F0829AE1BE48}"/>
          </ac:spMkLst>
        </pc:spChg>
        <pc:spChg chg="add del mod modVis">
          <ac:chgData name="Liang Yang" userId="7a7c13a3-d26c-494d-9577-22c5c3f8a804" providerId="ADAL" clId="{5563A8B3-E762-284D-A9AF-6F8879B1C7C3}" dt="2024-05-14T03:55:26.934" v="1615"/>
          <ac:spMkLst>
            <pc:docMk/>
            <pc:sldMk cId="2431246279" sldId="273"/>
            <ac:spMk id="62" creationId="{536D95D6-D9C1-88F7-EDDE-8BD30E708222}"/>
          </ac:spMkLst>
        </pc:spChg>
        <pc:spChg chg="add del mod modVis">
          <ac:chgData name="Liang Yang" userId="7a7c13a3-d26c-494d-9577-22c5c3f8a804" providerId="ADAL" clId="{5563A8B3-E762-284D-A9AF-6F8879B1C7C3}" dt="2024-05-14T03:55:28.315" v="1648"/>
          <ac:spMkLst>
            <pc:docMk/>
            <pc:sldMk cId="2431246279" sldId="273"/>
            <ac:spMk id="63" creationId="{FC178841-E490-B6F9-3CAB-4AA9A6D9FE56}"/>
          </ac:spMkLst>
        </pc:spChg>
        <pc:spChg chg="add del mod modVis">
          <ac:chgData name="Liang Yang" userId="7a7c13a3-d26c-494d-9577-22c5c3f8a804" providerId="ADAL" clId="{5563A8B3-E762-284D-A9AF-6F8879B1C7C3}" dt="2024-05-14T03:55:30.041" v="1685"/>
          <ac:spMkLst>
            <pc:docMk/>
            <pc:sldMk cId="2431246279" sldId="273"/>
            <ac:spMk id="5120" creationId="{1D6933C1-9296-39C9-1FEC-6445389E6E00}"/>
          </ac:spMkLst>
        </pc:spChg>
        <pc:spChg chg="add del mod modVis">
          <ac:chgData name="Liang Yang" userId="7a7c13a3-d26c-494d-9577-22c5c3f8a804" providerId="ADAL" clId="{5563A8B3-E762-284D-A9AF-6F8879B1C7C3}" dt="2024-05-14T03:55:35.736" v="1714"/>
          <ac:spMkLst>
            <pc:docMk/>
            <pc:sldMk cId="2431246279" sldId="273"/>
            <ac:spMk id="5121" creationId="{61BA885F-B1BB-79B8-7E66-DA83EB36BBE4}"/>
          </ac:spMkLst>
        </pc:spChg>
        <pc:spChg chg="add del mod modVis">
          <ac:chgData name="Liang Yang" userId="7a7c13a3-d26c-494d-9577-22c5c3f8a804" providerId="ADAL" clId="{5563A8B3-E762-284D-A9AF-6F8879B1C7C3}" dt="2024-05-14T04:00:38.115" v="1850" actId="962"/>
          <ac:spMkLst>
            <pc:docMk/>
            <pc:sldMk cId="2431246279" sldId="273"/>
            <ac:spMk id="5122" creationId="{7250DBA8-F25F-16D8-0BFC-67E80DD9F66A}"/>
          </ac:spMkLst>
        </pc:spChg>
        <pc:spChg chg="add del mod modVis">
          <ac:chgData name="Liang Yang" userId="7a7c13a3-d26c-494d-9577-22c5c3f8a804" providerId="ADAL" clId="{5563A8B3-E762-284D-A9AF-6F8879B1C7C3}" dt="2024-05-14T04:00:37.083" v="1816" actId="962"/>
          <ac:spMkLst>
            <pc:docMk/>
            <pc:sldMk cId="2431246279" sldId="273"/>
            <ac:spMk id="5123" creationId="{92070688-1E6F-DDF1-4291-54EBD218777D}"/>
          </ac:spMkLst>
        </pc:spChg>
        <pc:spChg chg="add del mod modVis">
          <ac:chgData name="Liang Yang" userId="7a7c13a3-d26c-494d-9577-22c5c3f8a804" providerId="ADAL" clId="{5563A8B3-E762-284D-A9AF-6F8879B1C7C3}" dt="2024-05-14T04:00:44.025" v="1920" actId="962"/>
          <ac:spMkLst>
            <pc:docMk/>
            <pc:sldMk cId="2431246279" sldId="273"/>
            <ac:spMk id="5125" creationId="{291A602A-49A5-2356-C8C0-6A2685266734}"/>
          </ac:spMkLst>
        </pc:spChg>
        <pc:spChg chg="add del mod modVis">
          <ac:chgData name="Liang Yang" userId="7a7c13a3-d26c-494d-9577-22c5c3f8a804" providerId="ADAL" clId="{5563A8B3-E762-284D-A9AF-6F8879B1C7C3}" dt="2024-05-14T04:00:47.155" v="1989" actId="962"/>
          <ac:spMkLst>
            <pc:docMk/>
            <pc:sldMk cId="2431246279" sldId="273"/>
            <ac:spMk id="5126" creationId="{AFC029C1-B1E4-A214-CE34-E79439982B24}"/>
          </ac:spMkLst>
        </pc:spChg>
        <pc:spChg chg="add del mod modVis">
          <ac:chgData name="Liang Yang" userId="7a7c13a3-d26c-494d-9577-22c5c3f8a804" providerId="ADAL" clId="{5563A8B3-E762-284D-A9AF-6F8879B1C7C3}" dt="2024-05-14T04:00:50.042" v="2114" actId="962"/>
          <ac:spMkLst>
            <pc:docMk/>
            <pc:sldMk cId="2431246279" sldId="273"/>
            <ac:spMk id="5127" creationId="{BE2A3CB6-7348-F5D6-E6BC-B5EEE0D03132}"/>
          </ac:spMkLst>
        </pc:spChg>
        <pc:spChg chg="add del mod modVis">
          <ac:chgData name="Liang Yang" userId="7a7c13a3-d26c-494d-9577-22c5c3f8a804" providerId="ADAL" clId="{5563A8B3-E762-284D-A9AF-6F8879B1C7C3}" dt="2024-05-14T04:00:49.611" v="2086" actId="962"/>
          <ac:spMkLst>
            <pc:docMk/>
            <pc:sldMk cId="2431246279" sldId="273"/>
            <ac:spMk id="5128" creationId="{861C97F3-D5C3-DD98-2CA3-7EACC7095CF9}"/>
          </ac:spMkLst>
        </pc:spChg>
        <pc:spChg chg="add del mod modVis">
          <ac:chgData name="Liang Yang" userId="7a7c13a3-d26c-494d-9577-22c5c3f8a804" providerId="ADAL" clId="{5563A8B3-E762-284D-A9AF-6F8879B1C7C3}" dt="2024-05-14T04:00:54.308" v="2244" actId="962"/>
          <ac:spMkLst>
            <pc:docMk/>
            <pc:sldMk cId="2431246279" sldId="273"/>
            <ac:spMk id="5129" creationId="{DCF6A4A6-5AF3-34D0-C3ED-0E86BF43CB37}"/>
          </ac:spMkLst>
        </pc:spChg>
        <pc:spChg chg="add del mod modVis">
          <ac:chgData name="Liang Yang" userId="7a7c13a3-d26c-494d-9577-22c5c3f8a804" providerId="ADAL" clId="{5563A8B3-E762-284D-A9AF-6F8879B1C7C3}" dt="2024-05-14T04:00:53.928" v="2215" actId="962"/>
          <ac:spMkLst>
            <pc:docMk/>
            <pc:sldMk cId="2431246279" sldId="273"/>
            <ac:spMk id="5130" creationId="{F6636FF5-9AA7-2AC6-23A7-3856335DB49C}"/>
          </ac:spMkLst>
        </pc:spChg>
        <pc:spChg chg="add del mod modVis">
          <ac:chgData name="Liang Yang" userId="7a7c13a3-d26c-494d-9577-22c5c3f8a804" providerId="ADAL" clId="{5563A8B3-E762-284D-A9AF-6F8879B1C7C3}" dt="2024-05-14T04:00:55.645" v="2275"/>
          <ac:spMkLst>
            <pc:docMk/>
            <pc:sldMk cId="2431246279" sldId="273"/>
            <ac:spMk id="5131" creationId="{311ED3EA-661A-2306-51EB-2A7AC132F86D}"/>
          </ac:spMkLst>
        </pc:spChg>
        <pc:spChg chg="add del mod modVis">
          <ac:chgData name="Liang Yang" userId="7a7c13a3-d26c-494d-9577-22c5c3f8a804" providerId="ADAL" clId="{5563A8B3-E762-284D-A9AF-6F8879B1C7C3}" dt="2024-05-14T04:00:56.800" v="2310"/>
          <ac:spMkLst>
            <pc:docMk/>
            <pc:sldMk cId="2431246279" sldId="273"/>
            <ac:spMk id="5132" creationId="{EB3681BF-DD32-FF57-7029-3F08CA01DB99}"/>
          </ac:spMkLst>
        </pc:spChg>
        <pc:spChg chg="add del mod modVis">
          <ac:chgData name="Liang Yang" userId="7a7c13a3-d26c-494d-9577-22c5c3f8a804" providerId="ADAL" clId="{5563A8B3-E762-284D-A9AF-6F8879B1C7C3}" dt="2024-05-14T04:01:04.652" v="2339"/>
          <ac:spMkLst>
            <pc:docMk/>
            <pc:sldMk cId="2431246279" sldId="273"/>
            <ac:spMk id="5133" creationId="{E20DED6F-9FB3-9974-204B-FA2BD6AA4C3B}"/>
          </ac:spMkLst>
        </pc:spChg>
        <pc:spChg chg="add del mod modVis">
          <ac:chgData name="Liang Yang" userId="7a7c13a3-d26c-494d-9577-22c5c3f8a804" providerId="ADAL" clId="{5563A8B3-E762-284D-A9AF-6F8879B1C7C3}" dt="2024-05-14T04:01:06.960" v="2369"/>
          <ac:spMkLst>
            <pc:docMk/>
            <pc:sldMk cId="2431246279" sldId="273"/>
            <ac:spMk id="5134" creationId="{DFB224E3-2152-B7A9-30E9-8FD2EB416999}"/>
          </ac:spMkLst>
        </pc:spChg>
        <pc:spChg chg="add del mod modVis">
          <ac:chgData name="Liang Yang" userId="7a7c13a3-d26c-494d-9577-22c5c3f8a804" providerId="ADAL" clId="{5563A8B3-E762-284D-A9AF-6F8879B1C7C3}" dt="2024-05-14T04:01:09.921" v="2398"/>
          <ac:spMkLst>
            <pc:docMk/>
            <pc:sldMk cId="2431246279" sldId="273"/>
            <ac:spMk id="5135" creationId="{417CB910-FCD8-6C88-8505-9C3E0CB4DF19}"/>
          </ac:spMkLst>
        </pc:spChg>
        <pc:spChg chg="add del mod modVis">
          <ac:chgData name="Liang Yang" userId="7a7c13a3-d26c-494d-9577-22c5c3f8a804" providerId="ADAL" clId="{5563A8B3-E762-284D-A9AF-6F8879B1C7C3}" dt="2024-05-14T04:01:11.539" v="2427"/>
          <ac:spMkLst>
            <pc:docMk/>
            <pc:sldMk cId="2431246279" sldId="273"/>
            <ac:spMk id="5136" creationId="{D5F5AFED-85DC-F2DB-ADBF-D6DC2CA93F3E}"/>
          </ac:spMkLst>
        </pc:spChg>
        <pc:spChg chg="add mod">
          <ac:chgData name="Liang Yang" userId="7a7c13a3-d26c-494d-9577-22c5c3f8a804" providerId="ADAL" clId="{5563A8B3-E762-284D-A9AF-6F8879B1C7C3}" dt="2024-05-14T04:07:03.285" v="2597"/>
          <ac:spMkLst>
            <pc:docMk/>
            <pc:sldMk cId="2431246279" sldId="273"/>
            <ac:spMk id="5137" creationId="{8A863AD2-E638-A03D-1B07-9415A8C38A06}"/>
          </ac:spMkLst>
        </pc:spChg>
        <pc:spChg chg="add mod">
          <ac:chgData name="Liang Yang" userId="7a7c13a3-d26c-494d-9577-22c5c3f8a804" providerId="ADAL" clId="{5563A8B3-E762-284D-A9AF-6F8879B1C7C3}" dt="2024-05-14T04:07:03.285" v="2597"/>
          <ac:spMkLst>
            <pc:docMk/>
            <pc:sldMk cId="2431246279" sldId="273"/>
            <ac:spMk id="5139" creationId="{12AAEB9B-7C6C-6735-1BA1-AD2804D9ACFB}"/>
          </ac:spMkLst>
        </pc:spChg>
        <pc:spChg chg="add mod">
          <ac:chgData name="Liang Yang" userId="7a7c13a3-d26c-494d-9577-22c5c3f8a804" providerId="ADAL" clId="{5563A8B3-E762-284D-A9AF-6F8879B1C7C3}" dt="2024-05-14T04:49:25.415" v="3645"/>
          <ac:spMkLst>
            <pc:docMk/>
            <pc:sldMk cId="2431246279" sldId="273"/>
            <ac:spMk id="5141" creationId="{059F212E-E3E6-66F4-6B6C-755A34A2BB12}"/>
          </ac:spMkLst>
        </pc:spChg>
        <pc:spChg chg="add mod">
          <ac:chgData name="Liang Yang" userId="7a7c13a3-d26c-494d-9577-22c5c3f8a804" providerId="ADAL" clId="{5563A8B3-E762-284D-A9AF-6F8879B1C7C3}" dt="2024-05-14T04:49:25.416" v="3647"/>
          <ac:spMkLst>
            <pc:docMk/>
            <pc:sldMk cId="2431246279" sldId="273"/>
            <ac:spMk id="5143" creationId="{106955D2-6369-19AF-EB6E-36EF2E41DF21}"/>
          </ac:spMkLst>
        </pc:spChg>
        <pc:spChg chg="add del mod">
          <ac:chgData name="Liang Yang" userId="7a7c13a3-d26c-494d-9577-22c5c3f8a804" providerId="ADAL" clId="{5563A8B3-E762-284D-A9AF-6F8879B1C7C3}" dt="2024-05-14T04:19:13.884" v="2809"/>
          <ac:spMkLst>
            <pc:docMk/>
            <pc:sldMk cId="2431246279" sldId="273"/>
            <ac:spMk id="5145" creationId="{5DE52276-85B5-A608-E635-BC77B67C2DF1}"/>
          </ac:spMkLst>
        </pc:spChg>
        <pc:grpChg chg="add mod">
          <ac:chgData name="Liang Yang" userId="7a7c13a3-d26c-494d-9577-22c5c3f8a804" providerId="ADAL" clId="{5563A8B3-E762-284D-A9AF-6F8879B1C7C3}" dt="2024-05-14T04:49:25.418" v="3649"/>
          <ac:grpSpMkLst>
            <pc:docMk/>
            <pc:sldMk cId="2431246279" sldId="273"/>
            <ac:grpSpMk id="20" creationId="{228127FD-CA51-CA2C-40E6-CCF312E866B1}"/>
          </ac:grpSpMkLst>
        </pc:grpChg>
        <pc:grpChg chg="add del mod">
          <ac:chgData name="Liang Yang" userId="7a7c13a3-d26c-494d-9577-22c5c3f8a804" providerId="ADAL" clId="{5563A8B3-E762-284D-A9AF-6F8879B1C7C3}" dt="2024-05-14T04:48:21.665" v="3605" actId="165"/>
          <ac:grpSpMkLst>
            <pc:docMk/>
            <pc:sldMk cId="2431246279" sldId="273"/>
            <ac:grpSpMk id="25" creationId="{468D9F9F-8016-A66E-B5D6-40D7BAD7F9E2}"/>
          </ac:grpSpMkLst>
        </pc:grpChg>
        <pc:graphicFrameChg chg="mod">
          <ac:chgData name="Liang Yang" userId="7a7c13a3-d26c-494d-9577-22c5c3f8a804" providerId="ADAL" clId="{5563A8B3-E762-284D-A9AF-6F8879B1C7C3}" dt="2024-05-14T04:49:25.435" v="3656"/>
          <ac:graphicFrameMkLst>
            <pc:docMk/>
            <pc:sldMk cId="2431246279" sldId="273"/>
            <ac:graphicFrameMk id="4" creationId="{B0DF492E-9842-C18F-58FA-A416AC8482E4}"/>
          </ac:graphicFrameMkLst>
        </pc:graphicFrameChg>
        <pc:picChg chg="add mod modCrop">
          <ac:chgData name="Liang Yang" userId="7a7c13a3-d26c-494d-9577-22c5c3f8a804" providerId="ADAL" clId="{5563A8B3-E762-284D-A9AF-6F8879B1C7C3}" dt="2024-05-14T04:36:59.974" v="2999" actId="164"/>
          <ac:picMkLst>
            <pc:docMk/>
            <pc:sldMk cId="2431246279" sldId="273"/>
            <ac:picMk id="3" creationId="{CF29DD22-C663-E267-FCB8-99C13619E2F1}"/>
          </ac:picMkLst>
        </pc:picChg>
        <pc:picChg chg="add del mod modCrop">
          <ac:chgData name="Liang Yang" userId="7a7c13a3-d26c-494d-9577-22c5c3f8a804" providerId="ADAL" clId="{5563A8B3-E762-284D-A9AF-6F8879B1C7C3}" dt="2024-05-14T04:49:10.401" v="3612" actId="478"/>
          <ac:picMkLst>
            <pc:docMk/>
            <pc:sldMk cId="2431246279" sldId="273"/>
            <ac:picMk id="5" creationId="{9D31DD53-F562-6603-A036-426816BE1464}"/>
          </ac:picMkLst>
        </pc:picChg>
        <pc:picChg chg="add mod">
          <ac:chgData name="Liang Yang" userId="7a7c13a3-d26c-494d-9577-22c5c3f8a804" providerId="ADAL" clId="{5563A8B3-E762-284D-A9AF-6F8879B1C7C3}" dt="2024-05-14T04:34:50.303" v="2972"/>
          <ac:picMkLst>
            <pc:docMk/>
            <pc:sldMk cId="2431246279" sldId="273"/>
            <ac:picMk id="8" creationId="{22F55398-5D02-00E9-426B-F65387000E57}"/>
          </ac:picMkLst>
        </pc:picChg>
        <pc:picChg chg="add mod">
          <ac:chgData name="Liang Yang" userId="7a7c13a3-d26c-494d-9577-22c5c3f8a804" providerId="ADAL" clId="{5563A8B3-E762-284D-A9AF-6F8879B1C7C3}" dt="2024-05-14T04:35:17.983" v="2982" actId="571"/>
          <ac:picMkLst>
            <pc:docMk/>
            <pc:sldMk cId="2431246279" sldId="273"/>
            <ac:picMk id="10" creationId="{C9D4F859-EB57-F675-2AB3-45B08FD810AB}"/>
          </ac:picMkLst>
        </pc:picChg>
        <pc:picChg chg="add mod">
          <ac:chgData name="Liang Yang" userId="7a7c13a3-d26c-494d-9577-22c5c3f8a804" providerId="ADAL" clId="{5563A8B3-E762-284D-A9AF-6F8879B1C7C3}" dt="2024-05-14T04:35:17.091" v="2981" actId="571"/>
          <ac:picMkLst>
            <pc:docMk/>
            <pc:sldMk cId="2431246279" sldId="273"/>
            <ac:picMk id="11" creationId="{922434EF-85D8-72D1-2E0D-BB3291E3C7CB}"/>
          </ac:picMkLst>
        </pc:picChg>
        <pc:picChg chg="add mod">
          <ac:chgData name="Liang Yang" userId="7a7c13a3-d26c-494d-9577-22c5c3f8a804" providerId="ADAL" clId="{5563A8B3-E762-284D-A9AF-6F8879B1C7C3}" dt="2024-05-14T04:35:16.643" v="2980" actId="571"/>
          <ac:picMkLst>
            <pc:docMk/>
            <pc:sldMk cId="2431246279" sldId="273"/>
            <ac:picMk id="12" creationId="{86E11135-3C04-A522-9FAC-9359584A42E4}"/>
          </ac:picMkLst>
        </pc:picChg>
        <pc:picChg chg="add mod">
          <ac:chgData name="Liang Yang" userId="7a7c13a3-d26c-494d-9577-22c5c3f8a804" providerId="ADAL" clId="{5563A8B3-E762-284D-A9AF-6F8879B1C7C3}" dt="2024-05-14T04:35:16.187" v="2979" actId="571"/>
          <ac:picMkLst>
            <pc:docMk/>
            <pc:sldMk cId="2431246279" sldId="273"/>
            <ac:picMk id="15" creationId="{8EECC67F-58C4-6CFA-A105-AFADF07A2984}"/>
          </ac:picMkLst>
        </pc:picChg>
        <pc:picChg chg="add mod">
          <ac:chgData name="Liang Yang" userId="7a7c13a3-d26c-494d-9577-22c5c3f8a804" providerId="ADAL" clId="{5563A8B3-E762-284D-A9AF-6F8879B1C7C3}" dt="2024-05-14T04:35:57.978" v="2987" actId="571"/>
          <ac:picMkLst>
            <pc:docMk/>
            <pc:sldMk cId="2431246279" sldId="273"/>
            <ac:picMk id="16" creationId="{011C0392-E4B5-FEE0-7E7A-5B8F2AF08398}"/>
          </ac:picMkLst>
        </pc:picChg>
        <pc:picChg chg="add mod">
          <ac:chgData name="Liang Yang" userId="7a7c13a3-d26c-494d-9577-22c5c3f8a804" providerId="ADAL" clId="{5563A8B3-E762-284D-A9AF-6F8879B1C7C3}" dt="2024-05-14T04:36:59.974" v="2999" actId="164"/>
          <ac:picMkLst>
            <pc:docMk/>
            <pc:sldMk cId="2431246279" sldId="273"/>
            <ac:picMk id="17" creationId="{5A6B4DDA-79FE-113B-FCFB-28A97BB5DFF0}"/>
          </ac:picMkLst>
        </pc:picChg>
        <pc:picChg chg="add mod">
          <ac:chgData name="Liang Yang" userId="7a7c13a3-d26c-494d-9577-22c5c3f8a804" providerId="ADAL" clId="{5563A8B3-E762-284D-A9AF-6F8879B1C7C3}" dt="2024-05-14T04:36:59.974" v="2999" actId="164"/>
          <ac:picMkLst>
            <pc:docMk/>
            <pc:sldMk cId="2431246279" sldId="273"/>
            <ac:picMk id="18" creationId="{1559E4B0-5F8E-6E81-EC46-EFA6E32A1E0D}"/>
          </ac:picMkLst>
        </pc:picChg>
        <pc:picChg chg="add mod">
          <ac:chgData name="Liang Yang" userId="7a7c13a3-d26c-494d-9577-22c5c3f8a804" providerId="ADAL" clId="{5563A8B3-E762-284D-A9AF-6F8879B1C7C3}" dt="2024-05-14T04:36:59.974" v="2999" actId="164"/>
          <ac:picMkLst>
            <pc:docMk/>
            <pc:sldMk cId="2431246279" sldId="273"/>
            <ac:picMk id="19" creationId="{3C0AF4C3-028E-F436-B805-08AC45338BE6}"/>
          </ac:picMkLst>
        </pc:picChg>
        <pc:picChg chg="del">
          <ac:chgData name="Liang Yang" userId="7a7c13a3-d26c-494d-9577-22c5c3f8a804" providerId="ADAL" clId="{5563A8B3-E762-284D-A9AF-6F8879B1C7C3}" dt="2024-05-14T03:52:38.462" v="1" actId="21"/>
          <ac:picMkLst>
            <pc:docMk/>
            <pc:sldMk cId="2431246279" sldId="273"/>
            <ac:picMk id="19" creationId="{ABBBD4FC-83B7-717C-08C8-B8908EB42B05}"/>
          </ac:picMkLst>
        </pc:picChg>
        <pc:picChg chg="add del mod topLvl modCrop">
          <ac:chgData name="Liang Yang" userId="7a7c13a3-d26c-494d-9577-22c5c3f8a804" providerId="ADAL" clId="{5563A8B3-E762-284D-A9AF-6F8879B1C7C3}" dt="2024-05-14T04:49:40.433" v="3658" actId="14100"/>
          <ac:picMkLst>
            <pc:docMk/>
            <pc:sldMk cId="2431246279" sldId="273"/>
            <ac:picMk id="26" creationId="{D8836F90-2EED-972B-116F-06CCF5B061E4}"/>
          </ac:picMkLst>
        </pc:picChg>
        <pc:picChg chg="del mod">
          <ac:chgData name="Liang Yang" userId="7a7c13a3-d26c-494d-9577-22c5c3f8a804" providerId="ADAL" clId="{5563A8B3-E762-284D-A9AF-6F8879B1C7C3}" dt="2024-05-14T04:34:39.404" v="2968" actId="478"/>
          <ac:picMkLst>
            <pc:docMk/>
            <pc:sldMk cId="2431246279" sldId="273"/>
            <ac:picMk id="5124" creationId="{4EB336BD-2F17-6048-5B86-2A47A4244B3D}"/>
          </ac:picMkLst>
        </pc:picChg>
        <pc:cxnChg chg="add mod">
          <ac:chgData name="Liang Yang" userId="7a7c13a3-d26c-494d-9577-22c5c3f8a804" providerId="ADAL" clId="{5563A8B3-E762-284D-A9AF-6F8879B1C7C3}" dt="2024-05-14T04:49:25.414" v="3644"/>
          <ac:cxnSpMkLst>
            <pc:docMk/>
            <pc:sldMk cId="2431246279" sldId="273"/>
            <ac:cxnSpMk id="7" creationId="{12E9515B-2BD0-5AFA-8F41-0924F8AEF774}"/>
          </ac:cxnSpMkLst>
        </pc:cxnChg>
        <pc:cxnChg chg="del">
          <ac:chgData name="Liang Yang" userId="7a7c13a3-d26c-494d-9577-22c5c3f8a804" providerId="ADAL" clId="{5563A8B3-E762-284D-A9AF-6F8879B1C7C3}" dt="2024-05-14T03:52:38.462" v="1" actId="21"/>
          <ac:cxnSpMkLst>
            <pc:docMk/>
            <pc:sldMk cId="2431246279" sldId="273"/>
            <ac:cxnSpMk id="22" creationId="{02C83CCA-C7FB-142A-25CF-35F87E97B849}"/>
          </ac:cxnSpMkLst>
        </pc:cxnChg>
        <pc:cxnChg chg="add mod">
          <ac:chgData name="Liang Yang" userId="7a7c13a3-d26c-494d-9577-22c5c3f8a804" providerId="ADAL" clId="{5563A8B3-E762-284D-A9AF-6F8879B1C7C3}" dt="2024-05-14T04:07:03.285" v="2597"/>
          <ac:cxnSpMkLst>
            <pc:docMk/>
            <pc:sldMk cId="2431246279" sldId="273"/>
            <ac:cxnSpMk id="5138" creationId="{4D057BAF-DEB1-BD4F-FE92-08F03421E2A6}"/>
          </ac:cxnSpMkLst>
        </pc:cxnChg>
        <pc:cxnChg chg="add mod">
          <ac:chgData name="Liang Yang" userId="7a7c13a3-d26c-494d-9577-22c5c3f8a804" providerId="ADAL" clId="{5563A8B3-E762-284D-A9AF-6F8879B1C7C3}" dt="2024-05-14T04:07:03.285" v="2597"/>
          <ac:cxnSpMkLst>
            <pc:docMk/>
            <pc:sldMk cId="2431246279" sldId="273"/>
            <ac:cxnSpMk id="5140" creationId="{5673DD9E-C77A-E170-84F8-B1435ABBD64E}"/>
          </ac:cxnSpMkLst>
        </pc:cxnChg>
        <pc:cxnChg chg="add mod">
          <ac:chgData name="Liang Yang" userId="7a7c13a3-d26c-494d-9577-22c5c3f8a804" providerId="ADAL" clId="{5563A8B3-E762-284D-A9AF-6F8879B1C7C3}" dt="2024-05-14T04:49:25.415" v="3646"/>
          <ac:cxnSpMkLst>
            <pc:docMk/>
            <pc:sldMk cId="2431246279" sldId="273"/>
            <ac:cxnSpMk id="5142" creationId="{02C79E9C-BED6-5F9A-3AE7-1766E4619D4F}"/>
          </ac:cxnSpMkLst>
        </pc:cxnChg>
        <pc:cxnChg chg="add mod">
          <ac:chgData name="Liang Yang" userId="7a7c13a3-d26c-494d-9577-22c5c3f8a804" providerId="ADAL" clId="{5563A8B3-E762-284D-A9AF-6F8879B1C7C3}" dt="2024-05-14T04:49:25.417" v="3648"/>
          <ac:cxnSpMkLst>
            <pc:docMk/>
            <pc:sldMk cId="2431246279" sldId="273"/>
            <ac:cxnSpMk id="5144" creationId="{7E9B1341-014D-7EF4-C967-C81529918A62}"/>
          </ac:cxnSpMkLst>
        </pc:cxnChg>
      </pc:sldChg>
      <pc:sldChg chg="addSp delSp modSp mod modNotesTx">
        <pc:chgData name="Liang Yang" userId="7a7c13a3-d26c-494d-9577-22c5c3f8a804" providerId="ADAL" clId="{5563A8B3-E762-284D-A9AF-6F8879B1C7C3}" dt="2024-05-14T05:29:50.224" v="5552"/>
        <pc:sldMkLst>
          <pc:docMk/>
          <pc:sldMk cId="1488541577" sldId="274"/>
        </pc:sldMkLst>
        <pc:spChg chg="mod">
          <ac:chgData name="Liang Yang" userId="7a7c13a3-d26c-494d-9577-22c5c3f8a804" providerId="ADAL" clId="{5563A8B3-E762-284D-A9AF-6F8879B1C7C3}" dt="2024-05-14T05:29:50.171" v="5525" actId="948"/>
          <ac:spMkLst>
            <pc:docMk/>
            <pc:sldMk cId="1488541577" sldId="274"/>
            <ac:spMk id="2" creationId="{CBADF92F-4066-F747-AAEF-597A8340E927}"/>
          </ac:spMkLst>
        </pc:spChg>
        <pc:spChg chg="add del mod modVis">
          <ac:chgData name="Liang Yang" userId="7a7c13a3-d26c-494d-9577-22c5c3f8a804" providerId="ADAL" clId="{5563A8B3-E762-284D-A9AF-6F8879B1C7C3}" dt="2024-05-14T04:52:04.617" v="3739"/>
          <ac:spMkLst>
            <pc:docMk/>
            <pc:sldMk cId="1488541577" sldId="274"/>
            <ac:spMk id="3" creationId="{0544DB40-F23A-9827-37EF-BF2C1A186E99}"/>
          </ac:spMkLst>
        </pc:spChg>
        <pc:spChg chg="del mod">
          <ac:chgData name="Liang Yang" userId="7a7c13a3-d26c-494d-9577-22c5c3f8a804" providerId="ADAL" clId="{5563A8B3-E762-284D-A9AF-6F8879B1C7C3}" dt="2024-05-14T05:10:44.631" v="4689" actId="478"/>
          <ac:spMkLst>
            <pc:docMk/>
            <pc:sldMk cId="1488541577" sldId="274"/>
            <ac:spMk id="5" creationId="{15B28621-68B7-B9C5-6A7C-555C25B2125E}"/>
          </ac:spMkLst>
        </pc:spChg>
        <pc:spChg chg="add del mod modVis">
          <ac:chgData name="Liang Yang" userId="7a7c13a3-d26c-494d-9577-22c5c3f8a804" providerId="ADAL" clId="{5563A8B3-E762-284D-A9AF-6F8879B1C7C3}" dt="2024-05-14T04:52:06.486" v="3777"/>
          <ac:spMkLst>
            <pc:docMk/>
            <pc:sldMk cId="1488541577" sldId="274"/>
            <ac:spMk id="6" creationId="{5668D645-9BA9-2647-F709-A3DD1CA3F3C5}"/>
          </ac:spMkLst>
        </pc:spChg>
        <pc:spChg chg="add del mod modVis">
          <ac:chgData name="Liang Yang" userId="7a7c13a3-d26c-494d-9577-22c5c3f8a804" providerId="ADAL" clId="{5563A8B3-E762-284D-A9AF-6F8879B1C7C3}" dt="2024-05-14T04:52:07.862" v="3812"/>
          <ac:spMkLst>
            <pc:docMk/>
            <pc:sldMk cId="1488541577" sldId="274"/>
            <ac:spMk id="7" creationId="{8BB95C00-DD72-F064-4F5C-59665DADA188}"/>
          </ac:spMkLst>
        </pc:spChg>
        <pc:spChg chg="add del mod modVis">
          <ac:chgData name="Liang Yang" userId="7a7c13a3-d26c-494d-9577-22c5c3f8a804" providerId="ADAL" clId="{5563A8B3-E762-284D-A9AF-6F8879B1C7C3}" dt="2024-05-14T04:52:08.710" v="3848"/>
          <ac:spMkLst>
            <pc:docMk/>
            <pc:sldMk cId="1488541577" sldId="274"/>
            <ac:spMk id="8" creationId="{832F6055-D921-55B6-5FA0-421B540D367E}"/>
          </ac:spMkLst>
        </pc:spChg>
        <pc:spChg chg="add del mod modVis">
          <ac:chgData name="Liang Yang" userId="7a7c13a3-d26c-494d-9577-22c5c3f8a804" providerId="ADAL" clId="{5563A8B3-E762-284D-A9AF-6F8879B1C7C3}" dt="2024-05-14T04:52:10.200" v="3883"/>
          <ac:spMkLst>
            <pc:docMk/>
            <pc:sldMk cId="1488541577" sldId="274"/>
            <ac:spMk id="9" creationId="{A5304321-5262-9461-4A31-F1B2C3354D6B}"/>
          </ac:spMkLst>
        </pc:spChg>
        <pc:spChg chg="add del mod modVis">
          <ac:chgData name="Liang Yang" userId="7a7c13a3-d26c-494d-9577-22c5c3f8a804" providerId="ADAL" clId="{5563A8B3-E762-284D-A9AF-6F8879B1C7C3}" dt="2024-05-14T04:52:13.798" v="3924"/>
          <ac:spMkLst>
            <pc:docMk/>
            <pc:sldMk cId="1488541577" sldId="274"/>
            <ac:spMk id="10" creationId="{A0DAFA46-AF9B-326F-A2B4-F8D25150F5E3}"/>
          </ac:spMkLst>
        </pc:spChg>
        <pc:spChg chg="add del mod modVis">
          <ac:chgData name="Liang Yang" userId="7a7c13a3-d26c-494d-9577-22c5c3f8a804" providerId="ADAL" clId="{5563A8B3-E762-284D-A9AF-6F8879B1C7C3}" dt="2024-05-14T04:52:15.149" v="3957"/>
          <ac:spMkLst>
            <pc:docMk/>
            <pc:sldMk cId="1488541577" sldId="274"/>
            <ac:spMk id="12" creationId="{9D27FA09-DE1D-2398-FEDB-A7B77C87135A}"/>
          </ac:spMkLst>
        </pc:spChg>
        <pc:spChg chg="add del mod modVis">
          <ac:chgData name="Liang Yang" userId="7a7c13a3-d26c-494d-9577-22c5c3f8a804" providerId="ADAL" clId="{5563A8B3-E762-284D-A9AF-6F8879B1C7C3}" dt="2024-05-14T04:52:15.820" v="3986"/>
          <ac:spMkLst>
            <pc:docMk/>
            <pc:sldMk cId="1488541577" sldId="274"/>
            <ac:spMk id="13" creationId="{7555F55A-BCAA-D165-5475-752ECF5A22FA}"/>
          </ac:spMkLst>
        </pc:spChg>
        <pc:spChg chg="add del mod modVis">
          <ac:chgData name="Liang Yang" userId="7a7c13a3-d26c-494d-9577-22c5c3f8a804" providerId="ADAL" clId="{5563A8B3-E762-284D-A9AF-6F8879B1C7C3}" dt="2024-05-14T04:52:16.964" v="4017"/>
          <ac:spMkLst>
            <pc:docMk/>
            <pc:sldMk cId="1488541577" sldId="274"/>
            <ac:spMk id="14" creationId="{446E4E9F-D1A2-6E63-CB50-B36A663FA140}"/>
          </ac:spMkLst>
        </pc:spChg>
        <pc:spChg chg="add del mod modVis">
          <ac:chgData name="Liang Yang" userId="7a7c13a3-d26c-494d-9577-22c5c3f8a804" providerId="ADAL" clId="{5563A8B3-E762-284D-A9AF-6F8879B1C7C3}" dt="2024-05-14T04:52:19.161" v="4053"/>
          <ac:spMkLst>
            <pc:docMk/>
            <pc:sldMk cId="1488541577" sldId="274"/>
            <ac:spMk id="15" creationId="{3141BF0F-6C66-9E6D-8442-2B728E4C8F40}"/>
          </ac:spMkLst>
        </pc:spChg>
        <pc:spChg chg="add del mod modVis">
          <ac:chgData name="Liang Yang" userId="7a7c13a3-d26c-494d-9577-22c5c3f8a804" providerId="ADAL" clId="{5563A8B3-E762-284D-A9AF-6F8879B1C7C3}" dt="2024-05-14T04:52:20.305" v="4084"/>
          <ac:spMkLst>
            <pc:docMk/>
            <pc:sldMk cId="1488541577" sldId="274"/>
            <ac:spMk id="17" creationId="{DC47D2B7-2750-1F2E-5156-F91742072482}"/>
          </ac:spMkLst>
        </pc:spChg>
        <pc:spChg chg="mod">
          <ac:chgData name="Liang Yang" userId="7a7c13a3-d26c-494d-9577-22c5c3f8a804" providerId="ADAL" clId="{5563A8B3-E762-284D-A9AF-6F8879B1C7C3}" dt="2024-05-14T05:28:09.854" v="5506" actId="12788"/>
          <ac:spMkLst>
            <pc:docMk/>
            <pc:sldMk cId="1488541577" sldId="274"/>
            <ac:spMk id="18" creationId="{E31656E0-C7CD-FF1B-A41B-5B90AB47897A}"/>
          </ac:spMkLst>
        </pc:spChg>
        <pc:spChg chg="add del mod modVis">
          <ac:chgData name="Liang Yang" userId="7a7c13a3-d26c-494d-9577-22c5c3f8a804" providerId="ADAL" clId="{5563A8B3-E762-284D-A9AF-6F8879B1C7C3}" dt="2024-05-14T04:52:23.101" v="4126"/>
          <ac:spMkLst>
            <pc:docMk/>
            <pc:sldMk cId="1488541577" sldId="274"/>
            <ac:spMk id="19" creationId="{17089B94-2183-9F0F-C78C-3EC592607043}"/>
          </ac:spMkLst>
        </pc:spChg>
        <pc:spChg chg="add del mod modVis">
          <ac:chgData name="Liang Yang" userId="7a7c13a3-d26c-494d-9577-22c5c3f8a804" providerId="ADAL" clId="{5563A8B3-E762-284D-A9AF-6F8879B1C7C3}" dt="2024-05-14T04:52:27.193" v="4178"/>
          <ac:spMkLst>
            <pc:docMk/>
            <pc:sldMk cId="1488541577" sldId="274"/>
            <ac:spMk id="20" creationId="{DC805EF7-2A6F-E39F-71BB-F3B99EF7CA5F}"/>
          </ac:spMkLst>
        </pc:spChg>
        <pc:spChg chg="add del mod modVis">
          <ac:chgData name="Liang Yang" userId="7a7c13a3-d26c-494d-9577-22c5c3f8a804" providerId="ADAL" clId="{5563A8B3-E762-284D-A9AF-6F8879B1C7C3}" dt="2024-05-14T04:52:29.391" v="4216"/>
          <ac:spMkLst>
            <pc:docMk/>
            <pc:sldMk cId="1488541577" sldId="274"/>
            <ac:spMk id="21" creationId="{DF1F74E6-3A8A-3131-4147-F912FA66A57D}"/>
          </ac:spMkLst>
        </pc:spChg>
        <pc:spChg chg="add del mod modVis">
          <ac:chgData name="Liang Yang" userId="7a7c13a3-d26c-494d-9577-22c5c3f8a804" providerId="ADAL" clId="{5563A8B3-E762-284D-A9AF-6F8879B1C7C3}" dt="2024-05-14T04:52:29.764" v="4246"/>
          <ac:spMkLst>
            <pc:docMk/>
            <pc:sldMk cId="1488541577" sldId="274"/>
            <ac:spMk id="22" creationId="{9655F767-657C-A6A7-E8B8-28B2EC05EDF0}"/>
          </ac:spMkLst>
        </pc:spChg>
        <pc:spChg chg="add del mod modVis">
          <ac:chgData name="Liang Yang" userId="7a7c13a3-d26c-494d-9577-22c5c3f8a804" providerId="ADAL" clId="{5563A8B3-E762-284D-A9AF-6F8879B1C7C3}" dt="2024-05-14T04:52:31.793" v="4284"/>
          <ac:spMkLst>
            <pc:docMk/>
            <pc:sldMk cId="1488541577" sldId="274"/>
            <ac:spMk id="23" creationId="{0FAD4873-D7D3-3ADC-0ED9-00D3E4817F4C}"/>
          </ac:spMkLst>
        </pc:spChg>
        <pc:spChg chg="add del mod modVis">
          <ac:chgData name="Liang Yang" userId="7a7c13a3-d26c-494d-9577-22c5c3f8a804" providerId="ADAL" clId="{5563A8B3-E762-284D-A9AF-6F8879B1C7C3}" dt="2024-05-14T04:52:33.702" v="4320"/>
          <ac:spMkLst>
            <pc:docMk/>
            <pc:sldMk cId="1488541577" sldId="274"/>
            <ac:spMk id="24" creationId="{54D76F8C-85CC-A412-3E54-28A2694CC4A2}"/>
          </ac:spMkLst>
        </pc:spChg>
        <pc:spChg chg="add del mod modVis">
          <ac:chgData name="Liang Yang" userId="7a7c13a3-d26c-494d-9577-22c5c3f8a804" providerId="ADAL" clId="{5563A8B3-E762-284D-A9AF-6F8879B1C7C3}" dt="2024-05-14T04:52:43.326" v="4349"/>
          <ac:spMkLst>
            <pc:docMk/>
            <pc:sldMk cId="1488541577" sldId="274"/>
            <ac:spMk id="25" creationId="{D67A45F8-F502-9E2D-52E9-3CA198790653}"/>
          </ac:spMkLst>
        </pc:spChg>
        <pc:spChg chg="add del mod modVis">
          <ac:chgData name="Liang Yang" userId="7a7c13a3-d26c-494d-9577-22c5c3f8a804" providerId="ADAL" clId="{5563A8B3-E762-284D-A9AF-6F8879B1C7C3}" dt="2024-05-14T05:02:06.342" v="4480"/>
          <ac:spMkLst>
            <pc:docMk/>
            <pc:sldMk cId="1488541577" sldId="274"/>
            <ac:spMk id="27" creationId="{621D6B68-166D-CCCA-3AEE-E66979741D01}"/>
          </ac:spMkLst>
        </pc:spChg>
        <pc:spChg chg="add mod">
          <ac:chgData name="Liang Yang" userId="7a7c13a3-d26c-494d-9577-22c5c3f8a804" providerId="ADAL" clId="{5563A8B3-E762-284D-A9AF-6F8879B1C7C3}" dt="2024-05-14T05:28:31.821" v="5508" actId="1076"/>
          <ac:spMkLst>
            <pc:docMk/>
            <pc:sldMk cId="1488541577" sldId="274"/>
            <ac:spMk id="29" creationId="{89EFDF4B-8300-04DE-9D46-DAD359C696FB}"/>
          </ac:spMkLst>
        </pc:spChg>
        <pc:spChg chg="mod topLvl">
          <ac:chgData name="Liang Yang" userId="7a7c13a3-d26c-494d-9577-22c5c3f8a804" providerId="ADAL" clId="{5563A8B3-E762-284D-A9AF-6F8879B1C7C3}" dt="2024-05-14T05:27:42.610" v="5495" actId="1035"/>
          <ac:spMkLst>
            <pc:docMk/>
            <pc:sldMk cId="1488541577" sldId="274"/>
            <ac:spMk id="31" creationId="{C0CCCC13-8660-7BAC-F34B-2A11C3C849C1}"/>
          </ac:spMkLst>
        </pc:spChg>
        <pc:spChg chg="mod topLvl">
          <ac:chgData name="Liang Yang" userId="7a7c13a3-d26c-494d-9577-22c5c3f8a804" providerId="ADAL" clId="{5563A8B3-E762-284D-A9AF-6F8879B1C7C3}" dt="2024-05-14T05:27:42.610" v="5495" actId="1035"/>
          <ac:spMkLst>
            <pc:docMk/>
            <pc:sldMk cId="1488541577" sldId="274"/>
            <ac:spMk id="32" creationId="{C803919E-B0AD-DBFB-3FB6-BA3ADAC4891D}"/>
          </ac:spMkLst>
        </pc:spChg>
        <pc:spChg chg="del mod topLvl">
          <ac:chgData name="Liang Yang" userId="7a7c13a3-d26c-494d-9577-22c5c3f8a804" providerId="ADAL" clId="{5563A8B3-E762-284D-A9AF-6F8879B1C7C3}" dt="2024-05-14T05:20:37.129" v="5118" actId="478"/>
          <ac:spMkLst>
            <pc:docMk/>
            <pc:sldMk cId="1488541577" sldId="274"/>
            <ac:spMk id="33" creationId="{7762193E-1C69-ED71-9F4F-BC9C24071FFE}"/>
          </ac:spMkLst>
        </pc:spChg>
        <pc:spChg chg="del mod topLvl">
          <ac:chgData name="Liang Yang" userId="7a7c13a3-d26c-494d-9577-22c5c3f8a804" providerId="ADAL" clId="{5563A8B3-E762-284D-A9AF-6F8879B1C7C3}" dt="2024-05-14T05:23:18.475" v="5182" actId="478"/>
          <ac:spMkLst>
            <pc:docMk/>
            <pc:sldMk cId="1488541577" sldId="274"/>
            <ac:spMk id="34" creationId="{493A5C5C-1F54-58DD-6E33-01A920060CF0}"/>
          </ac:spMkLst>
        </pc:spChg>
        <pc:spChg chg="add mod">
          <ac:chgData name="Liang Yang" userId="7a7c13a3-d26c-494d-9577-22c5c3f8a804" providerId="ADAL" clId="{5563A8B3-E762-284D-A9AF-6F8879B1C7C3}" dt="2024-05-14T05:20:39.177" v="5119"/>
          <ac:spMkLst>
            <pc:docMk/>
            <pc:sldMk cId="1488541577" sldId="274"/>
            <ac:spMk id="35" creationId="{A6F87CF9-3E4B-BF8E-3A57-9D3965D0CBCD}"/>
          </ac:spMkLst>
        </pc:spChg>
        <pc:spChg chg="add del mod">
          <ac:chgData name="Liang Yang" userId="7a7c13a3-d26c-494d-9577-22c5c3f8a804" providerId="ADAL" clId="{5563A8B3-E762-284D-A9AF-6F8879B1C7C3}" dt="2024-05-14T05:23:18.475" v="5182" actId="478"/>
          <ac:spMkLst>
            <pc:docMk/>
            <pc:sldMk cId="1488541577" sldId="274"/>
            <ac:spMk id="36" creationId="{B05005B8-DDCB-FF66-AF7B-47DF960CC187}"/>
          </ac:spMkLst>
        </pc:spChg>
        <pc:spChg chg="add del mod">
          <ac:chgData name="Liang Yang" userId="7a7c13a3-d26c-494d-9577-22c5c3f8a804" providerId="ADAL" clId="{5563A8B3-E762-284D-A9AF-6F8879B1C7C3}" dt="2024-05-14T05:20:46.985" v="5124" actId="478"/>
          <ac:spMkLst>
            <pc:docMk/>
            <pc:sldMk cId="1488541577" sldId="274"/>
            <ac:spMk id="37" creationId="{BBC6F3A1-0539-F186-9F32-8D5B4B1BAA34}"/>
          </ac:spMkLst>
        </pc:spChg>
        <pc:spChg chg="mod">
          <ac:chgData name="Liang Yang" userId="7a7c13a3-d26c-494d-9577-22c5c3f8a804" providerId="ADAL" clId="{5563A8B3-E762-284D-A9AF-6F8879B1C7C3}" dt="2024-05-14T05:02:06.332" v="4470"/>
          <ac:spMkLst>
            <pc:docMk/>
            <pc:sldMk cId="1488541577" sldId="274"/>
            <ac:spMk id="38" creationId="{63211A1B-4929-FEE4-C162-818C781E9621}"/>
          </ac:spMkLst>
        </pc:spChg>
        <pc:spChg chg="add del mod modVis">
          <ac:chgData name="Liang Yang" userId="7a7c13a3-d26c-494d-9577-22c5c3f8a804" providerId="ADAL" clId="{5563A8B3-E762-284D-A9AF-6F8879B1C7C3}" dt="2024-05-14T05:29:50.220" v="5550"/>
          <ac:spMkLst>
            <pc:docMk/>
            <pc:sldMk cId="1488541577" sldId="274"/>
            <ac:spMk id="39" creationId="{0CB2B30F-5C06-4110-F670-883F50B4C8C9}"/>
          </ac:spMkLst>
        </pc:spChg>
        <pc:grpChg chg="del mod">
          <ac:chgData name="Liang Yang" userId="7a7c13a3-d26c-494d-9577-22c5c3f8a804" providerId="ADAL" clId="{5563A8B3-E762-284D-A9AF-6F8879B1C7C3}" dt="2024-05-14T05:17:49.052" v="5024" actId="165"/>
          <ac:grpSpMkLst>
            <pc:docMk/>
            <pc:sldMk cId="1488541577" sldId="274"/>
            <ac:grpSpMk id="30" creationId="{EECC58EE-5B9E-272E-AC29-2B58D360BECC}"/>
          </ac:grpSpMkLst>
        </pc:grpChg>
        <pc:graphicFrameChg chg="mod">
          <ac:chgData name="Liang Yang" userId="7a7c13a3-d26c-494d-9577-22c5c3f8a804" providerId="ADAL" clId="{5563A8B3-E762-284D-A9AF-6F8879B1C7C3}" dt="2024-05-14T05:29:50.224" v="5552"/>
          <ac:graphicFrameMkLst>
            <pc:docMk/>
            <pc:sldMk cId="1488541577" sldId="274"/>
            <ac:graphicFrameMk id="4" creationId="{B0DF492E-9842-C18F-58FA-A416AC8482E4}"/>
          </ac:graphicFrameMkLst>
        </pc:graphicFrameChg>
        <pc:graphicFrameChg chg="add del mod modGraphic">
          <ac:chgData name="Liang Yang" userId="7a7c13a3-d26c-494d-9577-22c5c3f8a804" providerId="ADAL" clId="{5563A8B3-E762-284D-A9AF-6F8879B1C7C3}" dt="2024-05-14T05:17:42.910" v="5023" actId="18245"/>
          <ac:graphicFrameMkLst>
            <pc:docMk/>
            <pc:sldMk cId="1488541577" sldId="274"/>
            <ac:graphicFrameMk id="26" creationId="{F3245043-83DA-2F7A-59C7-BEFF13A54DA2}"/>
          </ac:graphicFrameMkLst>
        </pc:graphicFrameChg>
        <pc:graphicFrameChg chg="add mod modGraphic">
          <ac:chgData name="Liang Yang" userId="7a7c13a3-d26c-494d-9577-22c5c3f8a804" providerId="ADAL" clId="{5563A8B3-E762-284D-A9AF-6F8879B1C7C3}" dt="2024-05-14T05:28:40.654" v="5509" actId="1036"/>
          <ac:graphicFrameMkLst>
            <pc:docMk/>
            <pc:sldMk cId="1488541577" sldId="274"/>
            <ac:graphicFrameMk id="28" creationId="{AF177080-8D81-EF24-C6B3-7F66391B8ACD}"/>
          </ac:graphicFrameMkLst>
        </pc:graphicFrameChg>
        <pc:picChg chg="del mod">
          <ac:chgData name="Liang Yang" userId="7a7c13a3-d26c-494d-9577-22c5c3f8a804" providerId="ADAL" clId="{5563A8B3-E762-284D-A9AF-6F8879B1C7C3}" dt="2024-05-14T05:23:15.512" v="5181" actId="478"/>
          <ac:picMkLst>
            <pc:docMk/>
            <pc:sldMk cId="1488541577" sldId="274"/>
            <ac:picMk id="11" creationId="{897E8514-5510-8F4A-ECA8-5CB1F2CD26E4}"/>
          </ac:picMkLst>
        </pc:picChg>
        <pc:picChg chg="del mod">
          <ac:chgData name="Liang Yang" userId="7a7c13a3-d26c-494d-9577-22c5c3f8a804" providerId="ADAL" clId="{5563A8B3-E762-284D-A9AF-6F8879B1C7C3}" dt="2024-05-14T05:23:15.512" v="5181" actId="478"/>
          <ac:picMkLst>
            <pc:docMk/>
            <pc:sldMk cId="1488541577" sldId="274"/>
            <ac:picMk id="16" creationId="{47B28782-67ED-E90D-40AA-98080C6D76FB}"/>
          </ac:picMkLst>
        </pc:picChg>
        <pc:picChg chg="mod">
          <ac:chgData name="Liang Yang" userId="7a7c13a3-d26c-494d-9577-22c5c3f8a804" providerId="ADAL" clId="{5563A8B3-E762-284D-A9AF-6F8879B1C7C3}" dt="2024-05-14T05:28:43.549" v="5511" actId="1036"/>
          <ac:picMkLst>
            <pc:docMk/>
            <pc:sldMk cId="1488541577" sldId="274"/>
            <ac:picMk id="6148" creationId="{2C3EFCA0-B059-6179-3F4C-2362C3AFA2A7}"/>
          </ac:picMkLst>
        </pc:picChg>
        <pc:picChg chg="mod">
          <ac:chgData name="Liang Yang" userId="7a7c13a3-d26c-494d-9577-22c5c3f8a804" providerId="ADAL" clId="{5563A8B3-E762-284D-A9AF-6F8879B1C7C3}" dt="2024-05-14T05:28:40.654" v="5509" actId="1036"/>
          <ac:picMkLst>
            <pc:docMk/>
            <pc:sldMk cId="1488541577" sldId="274"/>
            <ac:picMk id="6150" creationId="{B28010BA-AC62-09C7-DF57-8191F0977246}"/>
          </ac:picMkLst>
        </pc:picChg>
      </pc:sldChg>
      <pc:sldChg chg="addSp delSp modSp add mod">
        <pc:chgData name="Liang Yang" userId="7a7c13a3-d26c-494d-9577-22c5c3f8a804" providerId="ADAL" clId="{5563A8B3-E762-284D-A9AF-6F8879B1C7C3}" dt="2024-05-14T05:42:47.583" v="7617"/>
        <pc:sldMkLst>
          <pc:docMk/>
          <pc:sldMk cId="2417961445" sldId="275"/>
        </pc:sldMkLst>
        <pc:spChg chg="mod">
          <ac:chgData name="Liang Yang" userId="7a7c13a3-d26c-494d-9577-22c5c3f8a804" providerId="ADAL" clId="{5563A8B3-E762-284D-A9AF-6F8879B1C7C3}" dt="2024-05-14T05:42:47.527" v="7590" actId="948"/>
          <ac:spMkLst>
            <pc:docMk/>
            <pc:sldMk cId="2417961445" sldId="275"/>
            <ac:spMk id="2" creationId="{CBADF92F-4066-F747-AAEF-597A8340E927}"/>
          </ac:spMkLst>
        </pc:spChg>
        <pc:spChg chg="add del mod modVis">
          <ac:chgData name="Liang Yang" userId="7a7c13a3-d26c-494d-9577-22c5c3f8a804" providerId="ADAL" clId="{5563A8B3-E762-284D-A9AF-6F8879B1C7C3}" dt="2024-05-14T05:30:15.614" v="5598"/>
          <ac:spMkLst>
            <pc:docMk/>
            <pc:sldMk cId="2417961445" sldId="275"/>
            <ac:spMk id="3" creationId="{8D8671EF-C2F9-64EB-EEB2-215B48D941DF}"/>
          </ac:spMkLst>
        </pc:spChg>
        <pc:spChg chg="add del mod topLvl">
          <ac:chgData name="Liang Yang" userId="7a7c13a3-d26c-494d-9577-22c5c3f8a804" providerId="ADAL" clId="{5563A8B3-E762-284D-A9AF-6F8879B1C7C3}" dt="2024-05-14T05:35:37.747" v="6898" actId="478"/>
          <ac:spMkLst>
            <pc:docMk/>
            <pc:sldMk cId="2417961445" sldId="275"/>
            <ac:spMk id="5" creationId="{85FA334C-3B33-37EF-BF6B-43E8142673C2}"/>
          </ac:spMkLst>
        </pc:spChg>
        <pc:spChg chg="add del mod modVis">
          <ac:chgData name="Liang Yang" userId="7a7c13a3-d26c-494d-9577-22c5c3f8a804" providerId="ADAL" clId="{5563A8B3-E762-284D-A9AF-6F8879B1C7C3}" dt="2024-05-14T05:31:21.536" v="5676"/>
          <ac:spMkLst>
            <pc:docMk/>
            <pc:sldMk cId="2417961445" sldId="275"/>
            <ac:spMk id="7" creationId="{9DDAF95A-F0A1-2B40-5223-01452B744975}"/>
          </ac:spMkLst>
        </pc:spChg>
        <pc:spChg chg="add del mod modVis">
          <ac:chgData name="Liang Yang" userId="7a7c13a3-d26c-494d-9577-22c5c3f8a804" providerId="ADAL" clId="{5563A8B3-E762-284D-A9AF-6F8879B1C7C3}" dt="2024-05-14T05:31:26.735" v="5725"/>
          <ac:spMkLst>
            <pc:docMk/>
            <pc:sldMk cId="2417961445" sldId="275"/>
            <ac:spMk id="8" creationId="{22CDF61F-ADE3-6A96-1301-8493AD7135DF}"/>
          </ac:spMkLst>
        </pc:spChg>
        <pc:spChg chg="add del mod modVis">
          <ac:chgData name="Liang Yang" userId="7a7c13a3-d26c-494d-9577-22c5c3f8a804" providerId="ADAL" clId="{5563A8B3-E762-284D-A9AF-6F8879B1C7C3}" dt="2024-05-14T05:31:28.527" v="5763"/>
          <ac:spMkLst>
            <pc:docMk/>
            <pc:sldMk cId="2417961445" sldId="275"/>
            <ac:spMk id="9" creationId="{97F2B3C1-2470-D367-76FD-1AE09AD31885}"/>
          </ac:spMkLst>
        </pc:spChg>
        <pc:spChg chg="add del mod modVis">
          <ac:chgData name="Liang Yang" userId="7a7c13a3-d26c-494d-9577-22c5c3f8a804" providerId="ADAL" clId="{5563A8B3-E762-284D-A9AF-6F8879B1C7C3}" dt="2024-05-14T05:31:30.193" v="5798"/>
          <ac:spMkLst>
            <pc:docMk/>
            <pc:sldMk cId="2417961445" sldId="275"/>
            <ac:spMk id="10" creationId="{F62BC9C0-2412-4C32-4976-9E6774197C2D}"/>
          </ac:spMkLst>
        </pc:spChg>
        <pc:spChg chg="add del mod modVis">
          <ac:chgData name="Liang Yang" userId="7a7c13a3-d26c-494d-9577-22c5c3f8a804" providerId="ADAL" clId="{5563A8B3-E762-284D-A9AF-6F8879B1C7C3}" dt="2024-05-14T05:31:35.653" v="5829"/>
          <ac:spMkLst>
            <pc:docMk/>
            <pc:sldMk cId="2417961445" sldId="275"/>
            <ac:spMk id="12" creationId="{23EF8545-8324-A4AB-E5F1-ECA0D70A9729}"/>
          </ac:spMkLst>
        </pc:spChg>
        <pc:spChg chg="add del mod modVis">
          <ac:chgData name="Liang Yang" userId="7a7c13a3-d26c-494d-9577-22c5c3f8a804" providerId="ADAL" clId="{5563A8B3-E762-284D-A9AF-6F8879B1C7C3}" dt="2024-05-14T05:31:36.811" v="5859"/>
          <ac:spMkLst>
            <pc:docMk/>
            <pc:sldMk cId="2417961445" sldId="275"/>
            <ac:spMk id="13" creationId="{53E1E287-DC4B-4947-57F6-2C340DF92C12}"/>
          </ac:spMkLst>
        </pc:spChg>
        <pc:spChg chg="add del mod modVis">
          <ac:chgData name="Liang Yang" userId="7a7c13a3-d26c-494d-9577-22c5c3f8a804" providerId="ADAL" clId="{5563A8B3-E762-284D-A9AF-6F8879B1C7C3}" dt="2024-05-14T05:31:43.742" v="5892"/>
          <ac:spMkLst>
            <pc:docMk/>
            <pc:sldMk cId="2417961445" sldId="275"/>
            <ac:spMk id="14" creationId="{A5EF5102-06DC-6F08-6A01-021D808378F4}"/>
          </ac:spMkLst>
        </pc:spChg>
        <pc:spChg chg="add del mod modVis">
          <ac:chgData name="Liang Yang" userId="7a7c13a3-d26c-494d-9577-22c5c3f8a804" providerId="ADAL" clId="{5563A8B3-E762-284D-A9AF-6F8879B1C7C3}" dt="2024-05-14T05:31:45.191" v="5927"/>
          <ac:spMkLst>
            <pc:docMk/>
            <pc:sldMk cId="2417961445" sldId="275"/>
            <ac:spMk id="15" creationId="{7B1D3938-0F34-8536-D3FD-B138DDD8A127}"/>
          </ac:spMkLst>
        </pc:spChg>
        <pc:spChg chg="add del mod modVis">
          <ac:chgData name="Liang Yang" userId="7a7c13a3-d26c-494d-9577-22c5c3f8a804" providerId="ADAL" clId="{5563A8B3-E762-284D-A9AF-6F8879B1C7C3}" dt="2024-05-14T05:31:50.002" v="5967"/>
          <ac:spMkLst>
            <pc:docMk/>
            <pc:sldMk cId="2417961445" sldId="275"/>
            <ac:spMk id="17" creationId="{08BEA055-55F9-D75F-8114-EE26B0D4A4A4}"/>
          </ac:spMkLst>
        </pc:spChg>
        <pc:spChg chg="del">
          <ac:chgData name="Liang Yang" userId="7a7c13a3-d26c-494d-9577-22c5c3f8a804" providerId="ADAL" clId="{5563A8B3-E762-284D-A9AF-6F8879B1C7C3}" dt="2024-05-14T05:22:05.634" v="5169" actId="478"/>
          <ac:spMkLst>
            <pc:docMk/>
            <pc:sldMk cId="2417961445" sldId="275"/>
            <ac:spMk id="18" creationId="{E31656E0-C7CD-FF1B-A41B-5B90AB47897A}"/>
          </ac:spMkLst>
        </pc:spChg>
        <pc:spChg chg="add del mod modVis">
          <ac:chgData name="Liang Yang" userId="7a7c13a3-d26c-494d-9577-22c5c3f8a804" providerId="ADAL" clId="{5563A8B3-E762-284D-A9AF-6F8879B1C7C3}" dt="2024-05-14T05:31:52.314" v="6007"/>
          <ac:spMkLst>
            <pc:docMk/>
            <pc:sldMk cId="2417961445" sldId="275"/>
            <ac:spMk id="19" creationId="{75A3ADCE-1EE7-F0F7-2856-6C1190DA39BD}"/>
          </ac:spMkLst>
        </pc:spChg>
        <pc:spChg chg="add del mod modVis">
          <ac:chgData name="Liang Yang" userId="7a7c13a3-d26c-494d-9577-22c5c3f8a804" providerId="ADAL" clId="{5563A8B3-E762-284D-A9AF-6F8879B1C7C3}" dt="2024-05-14T05:31:55.744" v="6047"/>
          <ac:spMkLst>
            <pc:docMk/>
            <pc:sldMk cId="2417961445" sldId="275"/>
            <ac:spMk id="20" creationId="{7935DB52-1F5D-2250-ADA8-1794C46C848C}"/>
          </ac:spMkLst>
        </pc:spChg>
        <pc:spChg chg="add del mod modVis">
          <ac:chgData name="Liang Yang" userId="7a7c13a3-d26c-494d-9577-22c5c3f8a804" providerId="ADAL" clId="{5563A8B3-E762-284D-A9AF-6F8879B1C7C3}" dt="2024-05-14T05:32:00.979" v="6095"/>
          <ac:spMkLst>
            <pc:docMk/>
            <pc:sldMk cId="2417961445" sldId="275"/>
            <ac:spMk id="21" creationId="{E31028B0-1984-82EF-BD91-CCAB8E9DB0D6}"/>
          </ac:spMkLst>
        </pc:spChg>
        <pc:spChg chg="add del mod modVis">
          <ac:chgData name="Liang Yang" userId="7a7c13a3-d26c-494d-9577-22c5c3f8a804" providerId="ADAL" clId="{5563A8B3-E762-284D-A9AF-6F8879B1C7C3}" dt="2024-05-14T05:32:02.996" v="6136"/>
          <ac:spMkLst>
            <pc:docMk/>
            <pc:sldMk cId="2417961445" sldId="275"/>
            <ac:spMk id="22" creationId="{A332751D-3A57-6187-C202-60BA2AF6243D}"/>
          </ac:spMkLst>
        </pc:spChg>
        <pc:spChg chg="add del mod modVis">
          <ac:chgData name="Liang Yang" userId="7a7c13a3-d26c-494d-9577-22c5c3f8a804" providerId="ADAL" clId="{5563A8B3-E762-284D-A9AF-6F8879B1C7C3}" dt="2024-05-14T05:32:03.649" v="6165"/>
          <ac:spMkLst>
            <pc:docMk/>
            <pc:sldMk cId="2417961445" sldId="275"/>
            <ac:spMk id="23" creationId="{9771015F-7487-E238-84DA-624637482233}"/>
          </ac:spMkLst>
        </pc:spChg>
        <pc:spChg chg="add del mod modVis">
          <ac:chgData name="Liang Yang" userId="7a7c13a3-d26c-494d-9577-22c5c3f8a804" providerId="ADAL" clId="{5563A8B3-E762-284D-A9AF-6F8879B1C7C3}" dt="2024-05-14T05:32:05.541" v="6199"/>
          <ac:spMkLst>
            <pc:docMk/>
            <pc:sldMk cId="2417961445" sldId="275"/>
            <ac:spMk id="24" creationId="{528FD299-6BD4-80AE-13DF-C60196EAD977}"/>
          </ac:spMkLst>
        </pc:spChg>
        <pc:spChg chg="add del mod modVis">
          <ac:chgData name="Liang Yang" userId="7a7c13a3-d26c-494d-9577-22c5c3f8a804" providerId="ADAL" clId="{5563A8B3-E762-284D-A9AF-6F8879B1C7C3}" dt="2024-05-14T05:32:08.907" v="6239"/>
          <ac:spMkLst>
            <pc:docMk/>
            <pc:sldMk cId="2417961445" sldId="275"/>
            <ac:spMk id="25" creationId="{53BFB0EA-4E8A-FDCE-C9DF-4EA445590070}"/>
          </ac:spMkLst>
        </pc:spChg>
        <pc:spChg chg="add del mod modVis">
          <ac:chgData name="Liang Yang" userId="7a7c13a3-d26c-494d-9577-22c5c3f8a804" providerId="ADAL" clId="{5563A8B3-E762-284D-A9AF-6F8879B1C7C3}" dt="2024-05-14T05:32:13.591" v="6280"/>
          <ac:spMkLst>
            <pc:docMk/>
            <pc:sldMk cId="2417961445" sldId="275"/>
            <ac:spMk id="26" creationId="{F229FB51-39B2-3BDE-0C40-F1F2E96EF361}"/>
          </ac:spMkLst>
        </pc:spChg>
        <pc:spChg chg="add del mod modVis">
          <ac:chgData name="Liang Yang" userId="7a7c13a3-d26c-494d-9577-22c5c3f8a804" providerId="ADAL" clId="{5563A8B3-E762-284D-A9AF-6F8879B1C7C3}" dt="2024-05-14T05:32:16.855" v="6313"/>
          <ac:spMkLst>
            <pc:docMk/>
            <pc:sldMk cId="2417961445" sldId="275"/>
            <ac:spMk id="27" creationId="{87EFCFAE-0102-1BC6-9FE7-55E15D800C8C}"/>
          </ac:spMkLst>
        </pc:spChg>
        <pc:spChg chg="del">
          <ac:chgData name="Liang Yang" userId="7a7c13a3-d26c-494d-9577-22c5c3f8a804" providerId="ADAL" clId="{5563A8B3-E762-284D-A9AF-6F8879B1C7C3}" dt="2024-05-14T05:22:05.634" v="5169" actId="478"/>
          <ac:spMkLst>
            <pc:docMk/>
            <pc:sldMk cId="2417961445" sldId="275"/>
            <ac:spMk id="29" creationId="{89EFDF4B-8300-04DE-9D46-DAD359C696FB}"/>
          </ac:spMkLst>
        </pc:spChg>
        <pc:spChg chg="add del mod modVis">
          <ac:chgData name="Liang Yang" userId="7a7c13a3-d26c-494d-9577-22c5c3f8a804" providerId="ADAL" clId="{5563A8B3-E762-284D-A9AF-6F8879B1C7C3}" dt="2024-05-14T05:32:18.747" v="6347"/>
          <ac:spMkLst>
            <pc:docMk/>
            <pc:sldMk cId="2417961445" sldId="275"/>
            <ac:spMk id="30" creationId="{2BEF33A0-48CF-615F-EA54-62898B8549A7}"/>
          </ac:spMkLst>
        </pc:spChg>
        <pc:spChg chg="del">
          <ac:chgData name="Liang Yang" userId="7a7c13a3-d26c-494d-9577-22c5c3f8a804" providerId="ADAL" clId="{5563A8B3-E762-284D-A9AF-6F8879B1C7C3}" dt="2024-05-14T05:22:33.338" v="5179" actId="478"/>
          <ac:spMkLst>
            <pc:docMk/>
            <pc:sldMk cId="2417961445" sldId="275"/>
            <ac:spMk id="31" creationId="{C0CCCC13-8660-7BAC-F34B-2A11C3C849C1}"/>
          </ac:spMkLst>
        </pc:spChg>
        <pc:spChg chg="del">
          <ac:chgData name="Liang Yang" userId="7a7c13a3-d26c-494d-9577-22c5c3f8a804" providerId="ADAL" clId="{5563A8B3-E762-284D-A9AF-6F8879B1C7C3}" dt="2024-05-14T05:22:33.338" v="5179" actId="478"/>
          <ac:spMkLst>
            <pc:docMk/>
            <pc:sldMk cId="2417961445" sldId="275"/>
            <ac:spMk id="32" creationId="{C803919E-B0AD-DBFB-3FB6-BA3ADAC4891D}"/>
          </ac:spMkLst>
        </pc:spChg>
        <pc:spChg chg="add del mod modVis">
          <ac:chgData name="Liang Yang" userId="7a7c13a3-d26c-494d-9577-22c5c3f8a804" providerId="ADAL" clId="{5563A8B3-E762-284D-A9AF-6F8879B1C7C3}" dt="2024-05-14T05:32:29.219" v="6381"/>
          <ac:spMkLst>
            <pc:docMk/>
            <pc:sldMk cId="2417961445" sldId="275"/>
            <ac:spMk id="33" creationId="{5F0F00AD-3831-1307-357B-2D0058AD731A}"/>
          </ac:spMkLst>
        </pc:spChg>
        <pc:spChg chg="del">
          <ac:chgData name="Liang Yang" userId="7a7c13a3-d26c-494d-9577-22c5c3f8a804" providerId="ADAL" clId="{5563A8B3-E762-284D-A9AF-6F8879B1C7C3}" dt="2024-05-14T05:22:33.338" v="5179" actId="478"/>
          <ac:spMkLst>
            <pc:docMk/>
            <pc:sldMk cId="2417961445" sldId="275"/>
            <ac:spMk id="34" creationId="{493A5C5C-1F54-58DD-6E33-01A920060CF0}"/>
          </ac:spMkLst>
        </pc:spChg>
        <pc:spChg chg="add del mod modVis">
          <ac:chgData name="Liang Yang" userId="7a7c13a3-d26c-494d-9577-22c5c3f8a804" providerId="ADAL" clId="{5563A8B3-E762-284D-A9AF-6F8879B1C7C3}" dt="2024-05-14T05:32:31.139" v="6417"/>
          <ac:spMkLst>
            <pc:docMk/>
            <pc:sldMk cId="2417961445" sldId="275"/>
            <ac:spMk id="35" creationId="{5CA50867-2B18-BA5F-7B2A-F61105D03D7A}"/>
          </ac:spMkLst>
        </pc:spChg>
        <pc:spChg chg="del">
          <ac:chgData name="Liang Yang" userId="7a7c13a3-d26c-494d-9577-22c5c3f8a804" providerId="ADAL" clId="{5563A8B3-E762-284D-A9AF-6F8879B1C7C3}" dt="2024-05-14T05:22:33.338" v="5179" actId="478"/>
          <ac:spMkLst>
            <pc:docMk/>
            <pc:sldMk cId="2417961445" sldId="275"/>
            <ac:spMk id="36" creationId="{B05005B8-DDCB-FF66-AF7B-47DF960CC187}"/>
          </ac:spMkLst>
        </pc:spChg>
        <pc:spChg chg="add del mod modVis">
          <ac:chgData name="Liang Yang" userId="7a7c13a3-d26c-494d-9577-22c5c3f8a804" providerId="ADAL" clId="{5563A8B3-E762-284D-A9AF-6F8879B1C7C3}" dt="2024-05-14T05:32:31.820" v="6447"/>
          <ac:spMkLst>
            <pc:docMk/>
            <pc:sldMk cId="2417961445" sldId="275"/>
            <ac:spMk id="37" creationId="{788B22D1-778B-A68B-FCB5-45D9C9EB9DD0}"/>
          </ac:spMkLst>
        </pc:spChg>
        <pc:spChg chg="del mod">
          <ac:chgData name="Liang Yang" userId="7a7c13a3-d26c-494d-9577-22c5c3f8a804" providerId="ADAL" clId="{5563A8B3-E762-284D-A9AF-6F8879B1C7C3}" dt="2024-05-14T05:36:51.990" v="6944" actId="478"/>
          <ac:spMkLst>
            <pc:docMk/>
            <pc:sldMk cId="2417961445" sldId="275"/>
            <ac:spMk id="38" creationId="{63211A1B-4929-FEE4-C162-818C781E9621}"/>
          </ac:spMkLst>
        </pc:spChg>
        <pc:spChg chg="add del mod modVis">
          <ac:chgData name="Liang Yang" userId="7a7c13a3-d26c-494d-9577-22c5c3f8a804" providerId="ADAL" clId="{5563A8B3-E762-284D-A9AF-6F8879B1C7C3}" dt="2024-05-14T05:32:33.639" v="6480"/>
          <ac:spMkLst>
            <pc:docMk/>
            <pc:sldMk cId="2417961445" sldId="275"/>
            <ac:spMk id="39" creationId="{5DA4790E-32B3-948D-D202-B369D5971FE2}"/>
          </ac:spMkLst>
        </pc:spChg>
        <pc:spChg chg="add del mod modVis">
          <ac:chgData name="Liang Yang" userId="7a7c13a3-d26c-494d-9577-22c5c3f8a804" providerId="ADAL" clId="{5563A8B3-E762-284D-A9AF-6F8879B1C7C3}" dt="2024-05-14T05:32:48.698" v="6509"/>
          <ac:spMkLst>
            <pc:docMk/>
            <pc:sldMk cId="2417961445" sldId="275"/>
            <ac:spMk id="40" creationId="{B4693ACA-F0F9-8D9D-5CCD-AC720A9D45E4}"/>
          </ac:spMkLst>
        </pc:spChg>
        <pc:spChg chg="add del mod modVis">
          <ac:chgData name="Liang Yang" userId="7a7c13a3-d26c-494d-9577-22c5c3f8a804" providerId="ADAL" clId="{5563A8B3-E762-284D-A9AF-6F8879B1C7C3}" dt="2024-05-14T05:32:51.213" v="6540"/>
          <ac:spMkLst>
            <pc:docMk/>
            <pc:sldMk cId="2417961445" sldId="275"/>
            <ac:spMk id="41" creationId="{B575ABDA-88D5-6C26-3AC6-C961B6FCF173}"/>
          </ac:spMkLst>
        </pc:spChg>
        <pc:spChg chg="add del mod modVis">
          <ac:chgData name="Liang Yang" userId="7a7c13a3-d26c-494d-9577-22c5c3f8a804" providerId="ADAL" clId="{5563A8B3-E762-284D-A9AF-6F8879B1C7C3}" dt="2024-05-14T05:32:52.973" v="6571"/>
          <ac:spMkLst>
            <pc:docMk/>
            <pc:sldMk cId="2417961445" sldId="275"/>
            <ac:spMk id="42" creationId="{E4AF9422-C37B-DF71-1844-005CEAAC2C5B}"/>
          </ac:spMkLst>
        </pc:spChg>
        <pc:spChg chg="add del mod modVis">
          <ac:chgData name="Liang Yang" userId="7a7c13a3-d26c-494d-9577-22c5c3f8a804" providerId="ADAL" clId="{5563A8B3-E762-284D-A9AF-6F8879B1C7C3}" dt="2024-05-14T05:32:54.713" v="6604"/>
          <ac:spMkLst>
            <pc:docMk/>
            <pc:sldMk cId="2417961445" sldId="275"/>
            <ac:spMk id="43" creationId="{01A8F26F-3B9D-4ABC-5861-9DAC4211CA52}"/>
          </ac:spMkLst>
        </pc:spChg>
        <pc:spChg chg="add del mod modVis">
          <ac:chgData name="Liang Yang" userId="7a7c13a3-d26c-494d-9577-22c5c3f8a804" providerId="ADAL" clId="{5563A8B3-E762-284D-A9AF-6F8879B1C7C3}" dt="2024-05-14T05:32:57.183" v="6643"/>
          <ac:spMkLst>
            <pc:docMk/>
            <pc:sldMk cId="2417961445" sldId="275"/>
            <ac:spMk id="44" creationId="{37E6E54B-77D5-80D3-F855-F558228AA51E}"/>
          </ac:spMkLst>
        </pc:spChg>
        <pc:spChg chg="add del mod modVis">
          <ac:chgData name="Liang Yang" userId="7a7c13a3-d26c-494d-9577-22c5c3f8a804" providerId="ADAL" clId="{5563A8B3-E762-284D-A9AF-6F8879B1C7C3}" dt="2024-05-14T05:32:59.665" v="6672"/>
          <ac:spMkLst>
            <pc:docMk/>
            <pc:sldMk cId="2417961445" sldId="275"/>
            <ac:spMk id="45" creationId="{D6DDE60F-0974-12E9-F527-701851B51C13}"/>
          </ac:spMkLst>
        </pc:spChg>
        <pc:spChg chg="add del mod modVis">
          <ac:chgData name="Liang Yang" userId="7a7c13a3-d26c-494d-9577-22c5c3f8a804" providerId="ADAL" clId="{5563A8B3-E762-284D-A9AF-6F8879B1C7C3}" dt="2024-05-14T05:33:01.358" v="6701"/>
          <ac:spMkLst>
            <pc:docMk/>
            <pc:sldMk cId="2417961445" sldId="275"/>
            <ac:spMk id="46" creationId="{FAA3F070-9609-1C74-B572-103E278D23BA}"/>
          </ac:spMkLst>
        </pc:spChg>
        <pc:spChg chg="add del mod modVis">
          <ac:chgData name="Liang Yang" userId="7a7c13a3-d26c-494d-9577-22c5c3f8a804" providerId="ADAL" clId="{5563A8B3-E762-284D-A9AF-6F8879B1C7C3}" dt="2024-05-14T05:33:03.091" v="6736"/>
          <ac:spMkLst>
            <pc:docMk/>
            <pc:sldMk cId="2417961445" sldId="275"/>
            <ac:spMk id="47" creationId="{1C6C27FF-22B9-40CC-D232-48B7589DA772}"/>
          </ac:spMkLst>
        </pc:spChg>
        <pc:spChg chg="add del mod modVis">
          <ac:chgData name="Liang Yang" userId="7a7c13a3-d26c-494d-9577-22c5c3f8a804" providerId="ADAL" clId="{5563A8B3-E762-284D-A9AF-6F8879B1C7C3}" dt="2024-05-14T05:33:05.049" v="6771"/>
          <ac:spMkLst>
            <pc:docMk/>
            <pc:sldMk cId="2417961445" sldId="275"/>
            <ac:spMk id="48" creationId="{52122BD0-CD8F-B0AA-0C61-BFAD2108982D}"/>
          </ac:spMkLst>
        </pc:spChg>
        <pc:spChg chg="add del mod modVis">
          <ac:chgData name="Liang Yang" userId="7a7c13a3-d26c-494d-9577-22c5c3f8a804" providerId="ADAL" clId="{5563A8B3-E762-284D-A9AF-6F8879B1C7C3}" dt="2024-05-14T05:33:06.009" v="6801"/>
          <ac:spMkLst>
            <pc:docMk/>
            <pc:sldMk cId="2417961445" sldId="275"/>
            <ac:spMk id="49" creationId="{DF1536E5-C623-8D1C-9F2A-E48762299900}"/>
          </ac:spMkLst>
        </pc:spChg>
        <pc:spChg chg="add del mod">
          <ac:chgData name="Liang Yang" userId="7a7c13a3-d26c-494d-9577-22c5c3f8a804" providerId="ADAL" clId="{5563A8B3-E762-284D-A9AF-6F8879B1C7C3}" dt="2024-05-14T05:36:56.943" v="6945" actId="478"/>
          <ac:spMkLst>
            <pc:docMk/>
            <pc:sldMk cId="2417961445" sldId="275"/>
            <ac:spMk id="51" creationId="{65828731-63B1-6FA1-9E6F-3B0CFED8B125}"/>
          </ac:spMkLst>
        </pc:spChg>
        <pc:spChg chg="add mod">
          <ac:chgData name="Liang Yang" userId="7a7c13a3-d26c-494d-9577-22c5c3f8a804" providerId="ADAL" clId="{5563A8B3-E762-284D-A9AF-6F8879B1C7C3}" dt="2024-05-14T05:38:43.488" v="6970" actId="207"/>
          <ac:spMkLst>
            <pc:docMk/>
            <pc:sldMk cId="2417961445" sldId="275"/>
            <ac:spMk id="52" creationId="{A5263D7A-AD57-E82C-722F-4941BB097A53}"/>
          </ac:spMkLst>
        </pc:spChg>
        <pc:spChg chg="add mod">
          <ac:chgData name="Liang Yang" userId="7a7c13a3-d26c-494d-9577-22c5c3f8a804" providerId="ADAL" clId="{5563A8B3-E762-284D-A9AF-6F8879B1C7C3}" dt="2024-05-14T05:39:18.125" v="6986" actId="1036"/>
          <ac:spMkLst>
            <pc:docMk/>
            <pc:sldMk cId="2417961445" sldId="275"/>
            <ac:spMk id="53" creationId="{B678F872-502A-E12A-5CF0-6EE512A40F1F}"/>
          </ac:spMkLst>
        </pc:spChg>
        <pc:spChg chg="add del mod modVis">
          <ac:chgData name="Liang Yang" userId="7a7c13a3-d26c-494d-9577-22c5c3f8a804" providerId="ADAL" clId="{5563A8B3-E762-284D-A9AF-6F8879B1C7C3}" dt="2024-05-14T05:39:41.668" v="7013"/>
          <ac:spMkLst>
            <pc:docMk/>
            <pc:sldMk cId="2417961445" sldId="275"/>
            <ac:spMk id="54" creationId="{6706031F-66DC-5A56-C2A4-F11066D39A2C}"/>
          </ac:spMkLst>
        </pc:spChg>
        <pc:spChg chg="add del mod modVis">
          <ac:chgData name="Liang Yang" userId="7a7c13a3-d26c-494d-9577-22c5c3f8a804" providerId="ADAL" clId="{5563A8B3-E762-284D-A9AF-6F8879B1C7C3}" dt="2024-05-14T05:41:50.296" v="7044"/>
          <ac:spMkLst>
            <pc:docMk/>
            <pc:sldMk cId="2417961445" sldId="275"/>
            <ac:spMk id="55" creationId="{D6C01BA6-FD54-D2A5-160D-4961EFC8AC12}"/>
          </ac:spMkLst>
        </pc:spChg>
        <pc:spChg chg="add del mod modVis">
          <ac:chgData name="Liang Yang" userId="7a7c13a3-d26c-494d-9577-22c5c3f8a804" providerId="ADAL" clId="{5563A8B3-E762-284D-A9AF-6F8879B1C7C3}" dt="2024-05-14T05:41:54.343" v="7073"/>
          <ac:spMkLst>
            <pc:docMk/>
            <pc:sldMk cId="2417961445" sldId="275"/>
            <ac:spMk id="56" creationId="{661E566E-1863-4699-CC92-23D800DFD717}"/>
          </ac:spMkLst>
        </pc:spChg>
        <pc:spChg chg="add del mod modVis">
          <ac:chgData name="Liang Yang" userId="7a7c13a3-d26c-494d-9577-22c5c3f8a804" providerId="ADAL" clId="{5563A8B3-E762-284D-A9AF-6F8879B1C7C3}" dt="2024-05-14T05:41:55.070" v="7103"/>
          <ac:spMkLst>
            <pc:docMk/>
            <pc:sldMk cId="2417961445" sldId="275"/>
            <ac:spMk id="57" creationId="{D17D3CB8-DAE7-404E-3279-97CDC1C68E48}"/>
          </ac:spMkLst>
        </pc:spChg>
        <pc:spChg chg="add del mod modVis">
          <ac:chgData name="Liang Yang" userId="7a7c13a3-d26c-494d-9577-22c5c3f8a804" providerId="ADAL" clId="{5563A8B3-E762-284D-A9AF-6F8879B1C7C3}" dt="2024-05-14T05:41:56.914" v="7137"/>
          <ac:spMkLst>
            <pc:docMk/>
            <pc:sldMk cId="2417961445" sldId="275"/>
            <ac:spMk id="58" creationId="{80AD11ED-1C3C-6B87-8165-D3DDF218EFE0}"/>
          </ac:spMkLst>
        </pc:spChg>
        <pc:spChg chg="add del mod modVis">
          <ac:chgData name="Liang Yang" userId="7a7c13a3-d26c-494d-9577-22c5c3f8a804" providerId="ADAL" clId="{5563A8B3-E762-284D-A9AF-6F8879B1C7C3}" dt="2024-05-14T05:41:59.374" v="7166"/>
          <ac:spMkLst>
            <pc:docMk/>
            <pc:sldMk cId="2417961445" sldId="275"/>
            <ac:spMk id="59" creationId="{415D15CE-6CC0-2DA4-E756-45079A7B0D13}"/>
          </ac:spMkLst>
        </pc:spChg>
        <pc:spChg chg="add del mod modVis">
          <ac:chgData name="Liang Yang" userId="7a7c13a3-d26c-494d-9577-22c5c3f8a804" providerId="ADAL" clId="{5563A8B3-E762-284D-A9AF-6F8879B1C7C3}" dt="2024-05-14T05:41:59.537" v="7195"/>
          <ac:spMkLst>
            <pc:docMk/>
            <pc:sldMk cId="2417961445" sldId="275"/>
            <ac:spMk id="60" creationId="{AC93A0C1-D5AE-3F68-0D4B-520FCBAAF957}"/>
          </ac:spMkLst>
        </pc:spChg>
        <pc:spChg chg="add del mod modVis">
          <ac:chgData name="Liang Yang" userId="7a7c13a3-d26c-494d-9577-22c5c3f8a804" providerId="ADAL" clId="{5563A8B3-E762-284D-A9AF-6F8879B1C7C3}" dt="2024-05-14T05:42:00.534" v="7225"/>
          <ac:spMkLst>
            <pc:docMk/>
            <pc:sldMk cId="2417961445" sldId="275"/>
            <ac:spMk id="61" creationId="{5C8A8157-1DA5-FD29-C5DB-FDE3FFDF5336}"/>
          </ac:spMkLst>
        </pc:spChg>
        <pc:spChg chg="add del mod modVis">
          <ac:chgData name="Liang Yang" userId="7a7c13a3-d26c-494d-9577-22c5c3f8a804" providerId="ADAL" clId="{5563A8B3-E762-284D-A9AF-6F8879B1C7C3}" dt="2024-05-14T05:42:20.878" v="7255"/>
          <ac:spMkLst>
            <pc:docMk/>
            <pc:sldMk cId="2417961445" sldId="275"/>
            <ac:spMk id="62" creationId="{6846F773-0392-FEEF-087B-6FA7264497A6}"/>
          </ac:spMkLst>
        </pc:spChg>
        <pc:spChg chg="add del mod modVis">
          <ac:chgData name="Liang Yang" userId="7a7c13a3-d26c-494d-9577-22c5c3f8a804" providerId="ADAL" clId="{5563A8B3-E762-284D-A9AF-6F8879B1C7C3}" dt="2024-05-14T05:42:21.682" v="7284"/>
          <ac:spMkLst>
            <pc:docMk/>
            <pc:sldMk cId="2417961445" sldId="275"/>
            <ac:spMk id="63" creationId="{6E0DD060-2CBA-C60F-1295-34BE8AFEEDFB}"/>
          </ac:spMkLst>
        </pc:spChg>
        <pc:spChg chg="add del mod modVis">
          <ac:chgData name="Liang Yang" userId="7a7c13a3-d26c-494d-9577-22c5c3f8a804" providerId="ADAL" clId="{5563A8B3-E762-284D-A9AF-6F8879B1C7C3}" dt="2024-05-14T05:42:24.484" v="7316"/>
          <ac:spMkLst>
            <pc:docMk/>
            <pc:sldMk cId="2417961445" sldId="275"/>
            <ac:spMk id="6144" creationId="{CFB9AAB5-C056-C4DF-2E77-BC53C6B4A86C}"/>
          </ac:spMkLst>
        </pc:spChg>
        <pc:spChg chg="add del mod modVis">
          <ac:chgData name="Liang Yang" userId="7a7c13a3-d26c-494d-9577-22c5c3f8a804" providerId="ADAL" clId="{5563A8B3-E762-284D-A9AF-6F8879B1C7C3}" dt="2024-05-14T05:42:30.866" v="7347"/>
          <ac:spMkLst>
            <pc:docMk/>
            <pc:sldMk cId="2417961445" sldId="275"/>
            <ac:spMk id="6145" creationId="{A65BD377-FBEA-FF96-A7C4-6960075386EF}"/>
          </ac:spMkLst>
        </pc:spChg>
        <pc:spChg chg="add del mod modVis">
          <ac:chgData name="Liang Yang" userId="7a7c13a3-d26c-494d-9577-22c5c3f8a804" providerId="ADAL" clId="{5563A8B3-E762-284D-A9AF-6F8879B1C7C3}" dt="2024-05-14T05:42:34.719" v="7389"/>
          <ac:spMkLst>
            <pc:docMk/>
            <pc:sldMk cId="2417961445" sldId="275"/>
            <ac:spMk id="6146" creationId="{76760876-8BE7-79F4-299D-FF4BB824BCC2}"/>
          </ac:spMkLst>
        </pc:spChg>
        <pc:spChg chg="add del mod modVis">
          <ac:chgData name="Liang Yang" userId="7a7c13a3-d26c-494d-9577-22c5c3f8a804" providerId="ADAL" clId="{5563A8B3-E762-284D-A9AF-6F8879B1C7C3}" dt="2024-05-14T05:42:36.490" v="7425"/>
          <ac:spMkLst>
            <pc:docMk/>
            <pc:sldMk cId="2417961445" sldId="275"/>
            <ac:spMk id="6147" creationId="{FA6EF006-A5C7-0EB0-7081-D3F0EB5CEE78}"/>
          </ac:spMkLst>
        </pc:spChg>
        <pc:spChg chg="add del mod modVis">
          <ac:chgData name="Liang Yang" userId="7a7c13a3-d26c-494d-9577-22c5c3f8a804" providerId="ADAL" clId="{5563A8B3-E762-284D-A9AF-6F8879B1C7C3}" dt="2024-05-14T05:42:37.718" v="7454"/>
          <ac:spMkLst>
            <pc:docMk/>
            <pc:sldMk cId="2417961445" sldId="275"/>
            <ac:spMk id="6149" creationId="{0D2A2DAF-6EB3-42DF-AE22-0A99FF7BB407}"/>
          </ac:spMkLst>
        </pc:spChg>
        <pc:spChg chg="add del mod modVis">
          <ac:chgData name="Liang Yang" userId="7a7c13a3-d26c-494d-9577-22c5c3f8a804" providerId="ADAL" clId="{5563A8B3-E762-284D-A9AF-6F8879B1C7C3}" dt="2024-05-14T05:42:38.779" v="7485"/>
          <ac:spMkLst>
            <pc:docMk/>
            <pc:sldMk cId="2417961445" sldId="275"/>
            <ac:spMk id="6151" creationId="{AC7945FF-A7D1-3BA9-0E96-45EABAE7BA26}"/>
          </ac:spMkLst>
        </pc:spChg>
        <pc:spChg chg="add del mod modVis">
          <ac:chgData name="Liang Yang" userId="7a7c13a3-d26c-494d-9577-22c5c3f8a804" providerId="ADAL" clId="{5563A8B3-E762-284D-A9AF-6F8879B1C7C3}" dt="2024-05-14T05:42:39.832" v="7517"/>
          <ac:spMkLst>
            <pc:docMk/>
            <pc:sldMk cId="2417961445" sldId="275"/>
            <ac:spMk id="6152" creationId="{7560261B-BD5B-457B-FE38-B49009B75ED4}"/>
          </ac:spMkLst>
        </pc:spChg>
        <pc:spChg chg="add del mod modVis">
          <ac:chgData name="Liang Yang" userId="7a7c13a3-d26c-494d-9577-22c5c3f8a804" providerId="ADAL" clId="{5563A8B3-E762-284D-A9AF-6F8879B1C7C3}" dt="2024-05-14T05:42:44.826" v="7547"/>
          <ac:spMkLst>
            <pc:docMk/>
            <pc:sldMk cId="2417961445" sldId="275"/>
            <ac:spMk id="6153" creationId="{A77BF227-AD74-B4D3-67FF-4F1B85F4FB54}"/>
          </ac:spMkLst>
        </pc:spChg>
        <pc:spChg chg="add del mod modVis">
          <ac:chgData name="Liang Yang" userId="7a7c13a3-d26c-494d-9577-22c5c3f8a804" providerId="ADAL" clId="{5563A8B3-E762-284D-A9AF-6F8879B1C7C3}" dt="2024-05-14T05:42:45.966" v="7580"/>
          <ac:spMkLst>
            <pc:docMk/>
            <pc:sldMk cId="2417961445" sldId="275"/>
            <ac:spMk id="6154" creationId="{374F591E-99FC-7786-9386-F8CB74F8DEE5}"/>
          </ac:spMkLst>
        </pc:spChg>
        <pc:spChg chg="add del mod modVis">
          <ac:chgData name="Liang Yang" userId="7a7c13a3-d26c-494d-9577-22c5c3f8a804" providerId="ADAL" clId="{5563A8B3-E762-284D-A9AF-6F8879B1C7C3}" dt="2024-05-14T05:42:47.580" v="7615"/>
          <ac:spMkLst>
            <pc:docMk/>
            <pc:sldMk cId="2417961445" sldId="275"/>
            <ac:spMk id="6155" creationId="{9C08E759-5AB5-6189-92DA-4B5978A83C5B}"/>
          </ac:spMkLst>
        </pc:spChg>
        <pc:grpChg chg="add del mod">
          <ac:chgData name="Liang Yang" userId="7a7c13a3-d26c-494d-9577-22c5c3f8a804" providerId="ADAL" clId="{5563A8B3-E762-284D-A9AF-6F8879B1C7C3}" dt="2024-05-14T05:34:38.161" v="6863" actId="165"/>
          <ac:grpSpMkLst>
            <pc:docMk/>
            <pc:sldMk cId="2417961445" sldId="275"/>
            <ac:grpSpMk id="6" creationId="{A475683D-4DB2-2CC0-4E3C-7D7BEAD66BA4}"/>
          </ac:grpSpMkLst>
        </pc:grpChg>
        <pc:graphicFrameChg chg="mod">
          <ac:chgData name="Liang Yang" userId="7a7c13a3-d26c-494d-9577-22c5c3f8a804" providerId="ADAL" clId="{5563A8B3-E762-284D-A9AF-6F8879B1C7C3}" dt="2024-05-14T05:42:47.583" v="7617"/>
          <ac:graphicFrameMkLst>
            <pc:docMk/>
            <pc:sldMk cId="2417961445" sldId="275"/>
            <ac:graphicFrameMk id="4" creationId="{B0DF492E-9842-C18F-58FA-A416AC8482E4}"/>
          </ac:graphicFrameMkLst>
        </pc:graphicFrameChg>
        <pc:graphicFrameChg chg="del">
          <ac:chgData name="Liang Yang" userId="7a7c13a3-d26c-494d-9577-22c5c3f8a804" providerId="ADAL" clId="{5563A8B3-E762-284D-A9AF-6F8879B1C7C3}" dt="2024-05-14T05:22:05.634" v="5169" actId="478"/>
          <ac:graphicFrameMkLst>
            <pc:docMk/>
            <pc:sldMk cId="2417961445" sldId="275"/>
            <ac:graphicFrameMk id="28" creationId="{AF177080-8D81-EF24-C6B3-7F66391B8ACD}"/>
          </ac:graphicFrameMkLst>
        </pc:graphicFrameChg>
        <pc:picChg chg="mod modCrop">
          <ac:chgData name="Liang Yang" userId="7a7c13a3-d26c-494d-9577-22c5c3f8a804" providerId="ADAL" clId="{5563A8B3-E762-284D-A9AF-6F8879B1C7C3}" dt="2024-05-14T05:37:49.312" v="6949" actId="14100"/>
          <ac:picMkLst>
            <pc:docMk/>
            <pc:sldMk cId="2417961445" sldId="275"/>
            <ac:picMk id="11" creationId="{897E8514-5510-8F4A-ECA8-5CB1F2CD26E4}"/>
          </ac:picMkLst>
        </pc:picChg>
        <pc:picChg chg="mod topLvl modCrop">
          <ac:chgData name="Liang Yang" userId="7a7c13a3-d26c-494d-9577-22c5c3f8a804" providerId="ADAL" clId="{5563A8B3-E762-284D-A9AF-6F8879B1C7C3}" dt="2024-05-14T05:37:49.312" v="6949" actId="14100"/>
          <ac:picMkLst>
            <pc:docMk/>
            <pc:sldMk cId="2417961445" sldId="275"/>
            <ac:picMk id="16" creationId="{47B28782-67ED-E90D-40AA-98080C6D76FB}"/>
          </ac:picMkLst>
        </pc:picChg>
        <pc:picChg chg="del">
          <ac:chgData name="Liang Yang" userId="7a7c13a3-d26c-494d-9577-22c5c3f8a804" providerId="ADAL" clId="{5563A8B3-E762-284D-A9AF-6F8879B1C7C3}" dt="2024-05-14T05:22:05.634" v="5169" actId="478"/>
          <ac:picMkLst>
            <pc:docMk/>
            <pc:sldMk cId="2417961445" sldId="275"/>
            <ac:picMk id="6148" creationId="{2C3EFCA0-B059-6179-3F4C-2362C3AFA2A7}"/>
          </ac:picMkLst>
        </pc:picChg>
        <pc:picChg chg="del mod">
          <ac:chgData name="Liang Yang" userId="7a7c13a3-d26c-494d-9577-22c5c3f8a804" providerId="ADAL" clId="{5563A8B3-E762-284D-A9AF-6F8879B1C7C3}" dt="2024-05-14T05:28:49.626" v="5512" actId="478"/>
          <ac:picMkLst>
            <pc:docMk/>
            <pc:sldMk cId="2417961445" sldId="275"/>
            <ac:picMk id="6150" creationId="{B28010BA-AC62-09C7-DF57-8191F0977246}"/>
          </ac:picMkLst>
        </pc:picChg>
      </pc:sldChg>
    </pc:docChg>
  </pc:docChgLst>
  <pc:docChgLst>
    <pc:chgData name="Liang Yang" userId="7a7c13a3-d26c-494d-9577-22c5c3f8a804" providerId="ADAL" clId="{F9BD9BDC-E3A3-481D-AB34-D332F61F93E2}"/>
    <pc:docChg chg="undo redo custSel addSld delSld modSld sldOrd modMainMaster replTag">
      <pc:chgData name="Liang Yang" userId="7a7c13a3-d26c-494d-9577-22c5c3f8a804" providerId="ADAL" clId="{F9BD9BDC-E3A3-481D-AB34-D332F61F93E2}" dt="2024-05-13T22:05:33.886" v="11934" actId="20577"/>
      <pc:docMkLst>
        <pc:docMk/>
      </pc:docMkLst>
      <pc:sldChg chg="addSp delSp modSp mod ord chgLayout">
        <pc:chgData name="Liang Yang" userId="7a7c13a3-d26c-494d-9577-22c5c3f8a804" providerId="ADAL" clId="{F9BD9BDC-E3A3-481D-AB34-D332F61F93E2}" dt="2024-05-13T16:18:38.334" v="3415" actId="1038"/>
        <pc:sldMkLst>
          <pc:docMk/>
          <pc:sldMk cId="2599966740" sldId="257"/>
        </pc:sldMkLst>
        <pc:spChg chg="mod ord">
          <ac:chgData name="Liang Yang" userId="7a7c13a3-d26c-494d-9577-22c5c3f8a804" providerId="ADAL" clId="{F9BD9BDC-E3A3-481D-AB34-D332F61F93E2}" dt="2024-05-13T15:59:15.792" v="3052" actId="948"/>
          <ac:spMkLst>
            <pc:docMk/>
            <pc:sldMk cId="2599966740" sldId="257"/>
            <ac:spMk id="2" creationId="{CBADF92F-4066-F747-AAEF-597A8340E927}"/>
          </ac:spMkLst>
        </pc:spChg>
        <pc:spChg chg="del mod">
          <ac:chgData name="Liang Yang" userId="7a7c13a3-d26c-494d-9577-22c5c3f8a804" providerId="ADAL" clId="{F9BD9BDC-E3A3-481D-AB34-D332F61F93E2}" dt="2024-05-13T15:02:19.320" v="8" actId="478"/>
          <ac:spMkLst>
            <pc:docMk/>
            <pc:sldMk cId="2599966740" sldId="257"/>
            <ac:spMk id="3" creationId="{1A0C734C-9B4D-C345-AC15-366AD2B82FF9}"/>
          </ac:spMkLst>
        </pc:spChg>
        <pc:spChg chg="add del mod">
          <ac:chgData name="Liang Yang" userId="7a7c13a3-d26c-494d-9577-22c5c3f8a804" providerId="ADAL" clId="{F9BD9BDC-E3A3-481D-AB34-D332F61F93E2}" dt="2024-05-13T15:02:15.679" v="6" actId="478"/>
          <ac:spMkLst>
            <pc:docMk/>
            <pc:sldMk cId="2599966740" sldId="257"/>
            <ac:spMk id="5" creationId="{355CDC31-2DA0-8C07-7191-F672EC7CC5DE}"/>
          </ac:spMkLst>
        </pc:spChg>
        <pc:spChg chg="add del mod modVis">
          <ac:chgData name="Liang Yang" userId="7a7c13a3-d26c-494d-9577-22c5c3f8a804" providerId="ADAL" clId="{F9BD9BDC-E3A3-481D-AB34-D332F61F93E2}" dt="2024-05-13T15:08:12.081" v="35"/>
          <ac:spMkLst>
            <pc:docMk/>
            <pc:sldMk cId="2599966740" sldId="257"/>
            <ac:spMk id="6" creationId="{A9388849-CA8A-4940-C02F-EE071086DF99}"/>
          </ac:spMkLst>
        </pc:spChg>
        <pc:spChg chg="add del mod modVis">
          <ac:chgData name="Liang Yang" userId="7a7c13a3-d26c-494d-9577-22c5c3f8a804" providerId="ADAL" clId="{F9BD9BDC-E3A3-481D-AB34-D332F61F93E2}" dt="2024-05-13T15:08:12.744" v="63"/>
          <ac:spMkLst>
            <pc:docMk/>
            <pc:sldMk cId="2599966740" sldId="257"/>
            <ac:spMk id="7" creationId="{A75077C3-5F35-0F72-E918-0002D5FBD3C2}"/>
          </ac:spMkLst>
        </pc:spChg>
        <pc:spChg chg="add del mod modVis">
          <ac:chgData name="Liang Yang" userId="7a7c13a3-d26c-494d-9577-22c5c3f8a804" providerId="ADAL" clId="{F9BD9BDC-E3A3-481D-AB34-D332F61F93E2}" dt="2024-05-13T15:08:14.416" v="100"/>
          <ac:spMkLst>
            <pc:docMk/>
            <pc:sldMk cId="2599966740" sldId="257"/>
            <ac:spMk id="8" creationId="{0D9C7394-49EF-2E4F-512E-2A2CED466BF2}"/>
          </ac:spMkLst>
        </pc:spChg>
        <pc:spChg chg="add del mod modVis">
          <ac:chgData name="Liang Yang" userId="7a7c13a3-d26c-494d-9577-22c5c3f8a804" providerId="ADAL" clId="{F9BD9BDC-E3A3-481D-AB34-D332F61F93E2}" dt="2024-05-13T15:08:18.698" v="151"/>
          <ac:spMkLst>
            <pc:docMk/>
            <pc:sldMk cId="2599966740" sldId="257"/>
            <ac:spMk id="9" creationId="{7637F4BD-BA8C-C821-136D-A8A97E355CD8}"/>
          </ac:spMkLst>
        </pc:spChg>
        <pc:spChg chg="add del mod modVis">
          <ac:chgData name="Liang Yang" userId="7a7c13a3-d26c-494d-9577-22c5c3f8a804" providerId="ADAL" clId="{F9BD9BDC-E3A3-481D-AB34-D332F61F93E2}" dt="2024-05-13T15:08:20.294" v="191"/>
          <ac:spMkLst>
            <pc:docMk/>
            <pc:sldMk cId="2599966740" sldId="257"/>
            <ac:spMk id="10" creationId="{0AA9065C-EB67-80C1-C190-4887FDCD7D18}"/>
          </ac:spMkLst>
        </pc:spChg>
        <pc:spChg chg="add del mod modVis">
          <ac:chgData name="Liang Yang" userId="7a7c13a3-d26c-494d-9577-22c5c3f8a804" providerId="ADAL" clId="{F9BD9BDC-E3A3-481D-AB34-D332F61F93E2}" dt="2024-05-13T15:08:21.682" v="239"/>
          <ac:spMkLst>
            <pc:docMk/>
            <pc:sldMk cId="2599966740" sldId="257"/>
            <ac:spMk id="11" creationId="{D7760B39-8DD2-F65F-9780-1AB14EC605B0}"/>
          </ac:spMkLst>
        </pc:spChg>
        <pc:spChg chg="add del mod modVis">
          <ac:chgData name="Liang Yang" userId="7a7c13a3-d26c-494d-9577-22c5c3f8a804" providerId="ADAL" clId="{F9BD9BDC-E3A3-481D-AB34-D332F61F93E2}" dt="2024-05-13T15:08:37.095" v="422" actId="962"/>
          <ac:spMkLst>
            <pc:docMk/>
            <pc:sldMk cId="2599966740" sldId="257"/>
            <ac:spMk id="12" creationId="{971B0C71-722C-F464-ED7E-070A2AE10ACB}"/>
          </ac:spMkLst>
        </pc:spChg>
        <pc:spChg chg="add del mod modVis">
          <ac:chgData name="Liang Yang" userId="7a7c13a3-d26c-494d-9577-22c5c3f8a804" providerId="ADAL" clId="{F9BD9BDC-E3A3-481D-AB34-D332F61F93E2}" dt="2024-05-13T15:08:36.170" v="376" actId="962"/>
          <ac:spMkLst>
            <pc:docMk/>
            <pc:sldMk cId="2599966740" sldId="257"/>
            <ac:spMk id="13" creationId="{F2B30DF7-715B-B858-FBF6-97B707356EAF}"/>
          </ac:spMkLst>
        </pc:spChg>
        <pc:spChg chg="add del mod modVis">
          <ac:chgData name="Liang Yang" userId="7a7c13a3-d26c-494d-9577-22c5c3f8a804" providerId="ADAL" clId="{F9BD9BDC-E3A3-481D-AB34-D332F61F93E2}" dt="2024-05-13T15:08:40.920" v="514" actId="962"/>
          <ac:spMkLst>
            <pc:docMk/>
            <pc:sldMk cId="2599966740" sldId="257"/>
            <ac:spMk id="14" creationId="{793B4883-5EAF-84A7-DEA3-C9CC470A99A1}"/>
          </ac:spMkLst>
        </pc:spChg>
        <pc:spChg chg="add del mod modVis">
          <ac:chgData name="Liang Yang" userId="7a7c13a3-d26c-494d-9577-22c5c3f8a804" providerId="ADAL" clId="{F9BD9BDC-E3A3-481D-AB34-D332F61F93E2}" dt="2024-05-13T15:08:43.732" v="558"/>
          <ac:spMkLst>
            <pc:docMk/>
            <pc:sldMk cId="2599966740" sldId="257"/>
            <ac:spMk id="15" creationId="{45C3ECDC-A4AD-15CA-B3D8-45F7CA025BA8}"/>
          </ac:spMkLst>
        </pc:spChg>
        <pc:spChg chg="add del mod modVis">
          <ac:chgData name="Liang Yang" userId="7a7c13a3-d26c-494d-9577-22c5c3f8a804" providerId="ADAL" clId="{F9BD9BDC-E3A3-481D-AB34-D332F61F93E2}" dt="2024-05-13T15:08:48.454" v="603"/>
          <ac:spMkLst>
            <pc:docMk/>
            <pc:sldMk cId="2599966740" sldId="257"/>
            <ac:spMk id="16" creationId="{1FD62A24-1E81-C44B-B33E-D919BAC081D5}"/>
          </ac:spMkLst>
        </pc:spChg>
        <pc:spChg chg="add del mod modVis">
          <ac:chgData name="Liang Yang" userId="7a7c13a3-d26c-494d-9577-22c5c3f8a804" providerId="ADAL" clId="{F9BD9BDC-E3A3-481D-AB34-D332F61F93E2}" dt="2024-05-13T15:08:49.384" v="648"/>
          <ac:spMkLst>
            <pc:docMk/>
            <pc:sldMk cId="2599966740" sldId="257"/>
            <ac:spMk id="17" creationId="{B8202C8D-46F9-B92C-6913-C8519688A369}"/>
          </ac:spMkLst>
        </pc:spChg>
        <pc:spChg chg="add del mod modVis">
          <ac:chgData name="Liang Yang" userId="7a7c13a3-d26c-494d-9577-22c5c3f8a804" providerId="ADAL" clId="{F9BD9BDC-E3A3-481D-AB34-D332F61F93E2}" dt="2024-05-13T15:08:50.262" v="693"/>
          <ac:spMkLst>
            <pc:docMk/>
            <pc:sldMk cId="2599966740" sldId="257"/>
            <ac:spMk id="18" creationId="{9F21F1AF-1807-AB49-5B94-6F68EED0FCBA}"/>
          </ac:spMkLst>
        </pc:spChg>
        <pc:spChg chg="add del mod modVis">
          <ac:chgData name="Liang Yang" userId="7a7c13a3-d26c-494d-9577-22c5c3f8a804" providerId="ADAL" clId="{F9BD9BDC-E3A3-481D-AB34-D332F61F93E2}" dt="2024-05-13T15:08:53.526" v="757"/>
          <ac:spMkLst>
            <pc:docMk/>
            <pc:sldMk cId="2599966740" sldId="257"/>
            <ac:spMk id="19" creationId="{B0865BC5-3958-2F8A-3365-99EFDE20DE6B}"/>
          </ac:spMkLst>
        </pc:spChg>
        <pc:spChg chg="add del mod modVis">
          <ac:chgData name="Liang Yang" userId="7a7c13a3-d26c-494d-9577-22c5c3f8a804" providerId="ADAL" clId="{F9BD9BDC-E3A3-481D-AB34-D332F61F93E2}" dt="2024-05-13T15:08:55.360" v="815"/>
          <ac:spMkLst>
            <pc:docMk/>
            <pc:sldMk cId="2599966740" sldId="257"/>
            <ac:spMk id="20" creationId="{3F4049CB-7EB0-368C-10E1-233F6C3502D4}"/>
          </ac:spMkLst>
        </pc:spChg>
        <pc:spChg chg="add del mod modVis">
          <ac:chgData name="Liang Yang" userId="7a7c13a3-d26c-494d-9577-22c5c3f8a804" providerId="ADAL" clId="{F9BD9BDC-E3A3-481D-AB34-D332F61F93E2}" dt="2024-05-13T15:08:55.939" v="863"/>
          <ac:spMkLst>
            <pc:docMk/>
            <pc:sldMk cId="2599966740" sldId="257"/>
            <ac:spMk id="21" creationId="{AE4EC2A0-442B-98CE-915E-EB298838EB9C}"/>
          </ac:spMkLst>
        </pc:spChg>
        <pc:spChg chg="add del mod modVis">
          <ac:chgData name="Liang Yang" userId="7a7c13a3-d26c-494d-9577-22c5c3f8a804" providerId="ADAL" clId="{F9BD9BDC-E3A3-481D-AB34-D332F61F93E2}" dt="2024-05-13T15:08:57.047" v="913"/>
          <ac:spMkLst>
            <pc:docMk/>
            <pc:sldMk cId="2599966740" sldId="257"/>
            <ac:spMk id="22" creationId="{62B48D87-1E6A-D728-5402-5F2166C47331}"/>
          </ac:spMkLst>
        </pc:spChg>
        <pc:spChg chg="add del mod modVis">
          <ac:chgData name="Liang Yang" userId="7a7c13a3-d26c-494d-9577-22c5c3f8a804" providerId="ADAL" clId="{F9BD9BDC-E3A3-481D-AB34-D332F61F93E2}" dt="2024-05-13T15:09:01.592" v="965"/>
          <ac:spMkLst>
            <pc:docMk/>
            <pc:sldMk cId="2599966740" sldId="257"/>
            <ac:spMk id="23" creationId="{4A89E36B-0653-4F43-8B0D-ACB54D95A54E}"/>
          </ac:spMkLst>
        </pc:spChg>
        <pc:spChg chg="add del mod modVis">
          <ac:chgData name="Liang Yang" userId="7a7c13a3-d26c-494d-9577-22c5c3f8a804" providerId="ADAL" clId="{F9BD9BDC-E3A3-481D-AB34-D332F61F93E2}" dt="2024-05-13T15:10:23.177" v="1013"/>
          <ac:spMkLst>
            <pc:docMk/>
            <pc:sldMk cId="2599966740" sldId="257"/>
            <ac:spMk id="24" creationId="{C8C8276C-40E2-8BB7-036E-28574055AAC9}"/>
          </ac:spMkLst>
        </pc:spChg>
        <pc:spChg chg="add del mod modVis">
          <ac:chgData name="Liang Yang" userId="7a7c13a3-d26c-494d-9577-22c5c3f8a804" providerId="ADAL" clId="{F9BD9BDC-E3A3-481D-AB34-D332F61F93E2}" dt="2024-05-13T15:10:24.593" v="1062"/>
          <ac:spMkLst>
            <pc:docMk/>
            <pc:sldMk cId="2599966740" sldId="257"/>
            <ac:spMk id="25" creationId="{8B8C2456-57FF-4ADA-0FB3-5455618C9811}"/>
          </ac:spMkLst>
        </pc:spChg>
        <pc:spChg chg="add del mod modVis">
          <ac:chgData name="Liang Yang" userId="7a7c13a3-d26c-494d-9577-22c5c3f8a804" providerId="ADAL" clId="{F9BD9BDC-E3A3-481D-AB34-D332F61F93E2}" dt="2024-05-13T15:10:25.928" v="1111"/>
          <ac:spMkLst>
            <pc:docMk/>
            <pc:sldMk cId="2599966740" sldId="257"/>
            <ac:spMk id="26" creationId="{56492817-9E2D-789E-8206-B7690F53D876}"/>
          </ac:spMkLst>
        </pc:spChg>
        <pc:spChg chg="add del mod modVis">
          <ac:chgData name="Liang Yang" userId="7a7c13a3-d26c-494d-9577-22c5c3f8a804" providerId="ADAL" clId="{F9BD9BDC-E3A3-481D-AB34-D332F61F93E2}" dt="2024-05-13T15:10:27.389" v="1160"/>
          <ac:spMkLst>
            <pc:docMk/>
            <pc:sldMk cId="2599966740" sldId="257"/>
            <ac:spMk id="27" creationId="{9B17601E-AC2F-AD3D-1213-08947A7A7275}"/>
          </ac:spMkLst>
        </pc:spChg>
        <pc:spChg chg="add del mod modVis">
          <ac:chgData name="Liang Yang" userId="7a7c13a3-d26c-494d-9577-22c5c3f8a804" providerId="ADAL" clId="{F9BD9BDC-E3A3-481D-AB34-D332F61F93E2}" dt="2024-05-13T15:10:34.904" v="1216"/>
          <ac:spMkLst>
            <pc:docMk/>
            <pc:sldMk cId="2599966740" sldId="257"/>
            <ac:spMk id="28" creationId="{37EE6B24-2CFD-7A04-DDBA-1F075FD71840}"/>
          </ac:spMkLst>
        </pc:spChg>
        <pc:spChg chg="add del mod modVis">
          <ac:chgData name="Liang Yang" userId="7a7c13a3-d26c-494d-9577-22c5c3f8a804" providerId="ADAL" clId="{F9BD9BDC-E3A3-481D-AB34-D332F61F93E2}" dt="2024-05-13T15:10:36.432" v="1267"/>
          <ac:spMkLst>
            <pc:docMk/>
            <pc:sldMk cId="2599966740" sldId="257"/>
            <ac:spMk id="29" creationId="{6726C3C5-57E2-037E-3FAA-C7C18AF8DC09}"/>
          </ac:spMkLst>
        </pc:spChg>
        <pc:spChg chg="add del mod modVis">
          <ac:chgData name="Liang Yang" userId="7a7c13a3-d26c-494d-9577-22c5c3f8a804" providerId="ADAL" clId="{F9BD9BDC-E3A3-481D-AB34-D332F61F93E2}" dt="2024-05-13T15:10:37.182" v="1316"/>
          <ac:spMkLst>
            <pc:docMk/>
            <pc:sldMk cId="2599966740" sldId="257"/>
            <ac:spMk id="30" creationId="{ED0B7D05-E232-C81C-FEF6-DB6F985ED9FC}"/>
          </ac:spMkLst>
        </pc:spChg>
        <pc:spChg chg="add del mod modVis">
          <ac:chgData name="Liang Yang" userId="7a7c13a3-d26c-494d-9577-22c5c3f8a804" providerId="ADAL" clId="{F9BD9BDC-E3A3-481D-AB34-D332F61F93E2}" dt="2024-05-13T15:10:38.546" v="1367"/>
          <ac:spMkLst>
            <pc:docMk/>
            <pc:sldMk cId="2599966740" sldId="257"/>
            <ac:spMk id="31" creationId="{E2173DE6-904A-7B44-04EA-51632B34EBBA}"/>
          </ac:spMkLst>
        </pc:spChg>
        <pc:spChg chg="add del mod modVis">
          <ac:chgData name="Liang Yang" userId="7a7c13a3-d26c-494d-9577-22c5c3f8a804" providerId="ADAL" clId="{F9BD9BDC-E3A3-481D-AB34-D332F61F93E2}" dt="2024-05-13T15:10:50.039" v="1415"/>
          <ac:spMkLst>
            <pc:docMk/>
            <pc:sldMk cId="2599966740" sldId="257"/>
            <ac:spMk id="32" creationId="{F420AA05-D6BF-5ECE-3E74-CFC92043495D}"/>
          </ac:spMkLst>
        </pc:spChg>
        <pc:spChg chg="add del mod modVis">
          <ac:chgData name="Liang Yang" userId="7a7c13a3-d26c-494d-9577-22c5c3f8a804" providerId="ADAL" clId="{F9BD9BDC-E3A3-481D-AB34-D332F61F93E2}" dt="2024-05-13T15:10:56.075" v="1463"/>
          <ac:spMkLst>
            <pc:docMk/>
            <pc:sldMk cId="2599966740" sldId="257"/>
            <ac:spMk id="33" creationId="{B840FB43-E2F2-1056-A54D-2DCA6A832025}"/>
          </ac:spMkLst>
        </pc:spChg>
        <pc:spChg chg="add del mod modVis">
          <ac:chgData name="Liang Yang" userId="7a7c13a3-d26c-494d-9577-22c5c3f8a804" providerId="ADAL" clId="{F9BD9BDC-E3A3-481D-AB34-D332F61F93E2}" dt="2024-05-13T15:11:04.140" v="1511"/>
          <ac:spMkLst>
            <pc:docMk/>
            <pc:sldMk cId="2599966740" sldId="257"/>
            <ac:spMk id="34" creationId="{E55F3B9C-9018-840B-FAB0-CA3D2FBD3001}"/>
          </ac:spMkLst>
        </pc:spChg>
        <pc:spChg chg="add del mod modVis">
          <ac:chgData name="Liang Yang" userId="7a7c13a3-d26c-494d-9577-22c5c3f8a804" providerId="ADAL" clId="{F9BD9BDC-E3A3-481D-AB34-D332F61F93E2}" dt="2024-05-13T15:11:13.051" v="1559"/>
          <ac:spMkLst>
            <pc:docMk/>
            <pc:sldMk cId="2599966740" sldId="257"/>
            <ac:spMk id="35" creationId="{E8112C25-294F-0993-809C-18936706CEFB}"/>
          </ac:spMkLst>
        </pc:spChg>
        <pc:spChg chg="add del mod modVis">
          <ac:chgData name="Liang Yang" userId="7a7c13a3-d26c-494d-9577-22c5c3f8a804" providerId="ADAL" clId="{F9BD9BDC-E3A3-481D-AB34-D332F61F93E2}" dt="2024-05-13T15:14:53.725" v="1622"/>
          <ac:spMkLst>
            <pc:docMk/>
            <pc:sldMk cId="2599966740" sldId="257"/>
            <ac:spMk id="36" creationId="{3B792DB9-9773-532B-1902-758B0DEA3744}"/>
          </ac:spMkLst>
        </pc:spChg>
        <pc:spChg chg="add del mod ord">
          <ac:chgData name="Liang Yang" userId="7a7c13a3-d26c-494d-9577-22c5c3f8a804" providerId="ADAL" clId="{F9BD9BDC-E3A3-481D-AB34-D332F61F93E2}" dt="2024-05-13T15:18:46.649" v="1751" actId="478"/>
          <ac:spMkLst>
            <pc:docMk/>
            <pc:sldMk cId="2599966740" sldId="257"/>
            <ac:spMk id="37" creationId="{21418CAF-681C-00BF-6E15-512BB8239FB2}"/>
          </ac:spMkLst>
        </pc:spChg>
        <pc:spChg chg="add mod ord">
          <ac:chgData name="Liang Yang" userId="7a7c13a3-d26c-494d-9577-22c5c3f8a804" providerId="ADAL" clId="{F9BD9BDC-E3A3-481D-AB34-D332F61F93E2}" dt="2024-05-13T15:43:17.613" v="2158" actId="1036"/>
          <ac:spMkLst>
            <pc:docMk/>
            <pc:sldMk cId="2599966740" sldId="257"/>
            <ac:spMk id="38" creationId="{63211A1B-4929-FEE4-C162-818C781E9621}"/>
          </ac:spMkLst>
        </pc:spChg>
        <pc:spChg chg="add del mod modVis">
          <ac:chgData name="Liang Yang" userId="7a7c13a3-d26c-494d-9577-22c5c3f8a804" providerId="ADAL" clId="{F9BD9BDC-E3A3-481D-AB34-D332F61F93E2}" dt="2024-05-13T15:18:42.265" v="1747"/>
          <ac:spMkLst>
            <pc:docMk/>
            <pc:sldMk cId="2599966740" sldId="257"/>
            <ac:spMk id="39" creationId="{C85E5275-989F-1CE0-708E-E895ED9C352C}"/>
          </ac:spMkLst>
        </pc:spChg>
        <pc:spChg chg="add del mod ord">
          <ac:chgData name="Liang Yang" userId="7a7c13a3-d26c-494d-9577-22c5c3f8a804" providerId="ADAL" clId="{F9BD9BDC-E3A3-481D-AB34-D332F61F93E2}" dt="2024-05-13T15:20:15.031" v="1827" actId="478"/>
          <ac:spMkLst>
            <pc:docMk/>
            <pc:sldMk cId="2599966740" sldId="257"/>
            <ac:spMk id="40" creationId="{699F5ECB-BBF6-43F9-11BE-708B21475C9D}"/>
          </ac:spMkLst>
        </pc:spChg>
        <pc:spChg chg="add del mod modVis">
          <ac:chgData name="Liang Yang" userId="7a7c13a3-d26c-494d-9577-22c5c3f8a804" providerId="ADAL" clId="{F9BD9BDC-E3A3-481D-AB34-D332F61F93E2}" dt="2024-05-13T15:20:10.764" v="1824"/>
          <ac:spMkLst>
            <pc:docMk/>
            <pc:sldMk cId="2599966740" sldId="257"/>
            <ac:spMk id="41" creationId="{8FE519EB-CD9B-D5BD-56C0-956CA3ACDD2F}"/>
          </ac:spMkLst>
        </pc:spChg>
        <pc:spChg chg="add del mod">
          <ac:chgData name="Liang Yang" userId="7a7c13a3-d26c-494d-9577-22c5c3f8a804" providerId="ADAL" clId="{F9BD9BDC-E3A3-481D-AB34-D332F61F93E2}" dt="2024-05-13T15:38:13.296" v="1892" actId="478"/>
          <ac:spMkLst>
            <pc:docMk/>
            <pc:sldMk cId="2599966740" sldId="257"/>
            <ac:spMk id="46" creationId="{752819ED-518B-B377-79B2-E2D099F97168}"/>
          </ac:spMkLst>
        </pc:spChg>
        <pc:spChg chg="add mod">
          <ac:chgData name="Liang Yang" userId="7a7c13a3-d26c-494d-9577-22c5c3f8a804" providerId="ADAL" clId="{F9BD9BDC-E3A3-481D-AB34-D332F61F93E2}" dt="2024-05-13T15:33:53.991" v="1873"/>
          <ac:spMkLst>
            <pc:docMk/>
            <pc:sldMk cId="2599966740" sldId="257"/>
            <ac:spMk id="47" creationId="{A8EEE2FE-0F80-61A7-28E3-53A99328E47A}"/>
          </ac:spMkLst>
        </pc:spChg>
        <pc:spChg chg="add del mod">
          <ac:chgData name="Liang Yang" userId="7a7c13a3-d26c-494d-9577-22c5c3f8a804" providerId="ADAL" clId="{F9BD9BDC-E3A3-481D-AB34-D332F61F93E2}" dt="2024-05-13T15:38:13.630" v="1893" actId="478"/>
          <ac:spMkLst>
            <pc:docMk/>
            <pc:sldMk cId="2599966740" sldId="257"/>
            <ac:spMk id="48" creationId="{32951204-7CF5-0411-88E2-466454CC2012}"/>
          </ac:spMkLst>
        </pc:spChg>
        <pc:spChg chg="add del mod replST">
          <ac:chgData name="Liang Yang" userId="7a7c13a3-d26c-494d-9577-22c5c3f8a804" providerId="ADAL" clId="{F9BD9BDC-E3A3-481D-AB34-D332F61F93E2}" dt="2024-05-13T15:38:47.707" v="1997"/>
          <ac:spMkLst>
            <pc:docMk/>
            <pc:sldMk cId="2599966740" sldId="257"/>
            <ac:spMk id="49" creationId="{51B8E220-7325-B14C-B1BB-009F2909E3A4}"/>
          </ac:spMkLst>
        </pc:spChg>
        <pc:spChg chg="add del mod modVis">
          <ac:chgData name="Liang Yang" userId="7a7c13a3-d26c-494d-9577-22c5c3f8a804" providerId="ADAL" clId="{F9BD9BDC-E3A3-481D-AB34-D332F61F93E2}" dt="2024-05-13T15:38:40.023" v="1994"/>
          <ac:spMkLst>
            <pc:docMk/>
            <pc:sldMk cId="2599966740" sldId="257"/>
            <ac:spMk id="50" creationId="{6DD50938-2C9C-D89B-6C77-7F339CF44FC2}"/>
          </ac:spMkLst>
        </pc:spChg>
        <pc:spChg chg="add del mod">
          <ac:chgData name="Liang Yang" userId="7a7c13a3-d26c-494d-9577-22c5c3f8a804" providerId="ADAL" clId="{F9BD9BDC-E3A3-481D-AB34-D332F61F93E2}" dt="2024-05-13T15:38:52.754" v="2005"/>
          <ac:spMkLst>
            <pc:docMk/>
            <pc:sldMk cId="2599966740" sldId="257"/>
            <ac:spMk id="51" creationId="{737B12FD-236E-2B3F-8AA2-7868B59C57C7}"/>
          </ac:spMkLst>
        </pc:spChg>
        <pc:spChg chg="add mod">
          <ac:chgData name="Liang Yang" userId="7a7c13a3-d26c-494d-9577-22c5c3f8a804" providerId="ADAL" clId="{F9BD9BDC-E3A3-481D-AB34-D332F61F93E2}" dt="2024-05-13T15:50:33.658" v="2493" actId="14100"/>
          <ac:spMkLst>
            <pc:docMk/>
            <pc:sldMk cId="2599966740" sldId="257"/>
            <ac:spMk id="52" creationId="{FA236359-00C2-3CE5-14B6-779BAD9F71DC}"/>
          </ac:spMkLst>
        </pc:spChg>
        <pc:spChg chg="add mod">
          <ac:chgData name="Liang Yang" userId="7a7c13a3-d26c-494d-9577-22c5c3f8a804" providerId="ADAL" clId="{F9BD9BDC-E3A3-481D-AB34-D332F61F93E2}" dt="2024-05-13T15:43:31.988" v="2160" actId="14100"/>
          <ac:spMkLst>
            <pc:docMk/>
            <pc:sldMk cId="2599966740" sldId="257"/>
            <ac:spMk id="53" creationId="{731B1CC3-1827-99A6-BC57-A114DBFCE863}"/>
          </ac:spMkLst>
        </pc:spChg>
        <pc:spChg chg="add del mod modVis">
          <ac:chgData name="Liang Yang" userId="7a7c13a3-d26c-494d-9577-22c5c3f8a804" providerId="ADAL" clId="{F9BD9BDC-E3A3-481D-AB34-D332F61F93E2}" dt="2024-05-13T15:59:06.391" v="3000"/>
          <ac:spMkLst>
            <pc:docMk/>
            <pc:sldMk cId="2599966740" sldId="257"/>
            <ac:spMk id="1025" creationId="{6461F01A-BC4E-4C4F-DB24-A7ADCAF7E14A}"/>
          </ac:spMkLst>
        </pc:spChg>
        <pc:spChg chg="add del mod modVis">
          <ac:chgData name="Liang Yang" userId="7a7c13a3-d26c-494d-9577-22c5c3f8a804" providerId="ADAL" clId="{F9BD9BDC-E3A3-481D-AB34-D332F61F93E2}" dt="2024-05-13T15:59:07.624" v="3048"/>
          <ac:spMkLst>
            <pc:docMk/>
            <pc:sldMk cId="2599966740" sldId="257"/>
            <ac:spMk id="1027" creationId="{336D1FB9-B3D3-3EA8-FBAF-606971CD5492}"/>
          </ac:spMkLst>
        </pc:spChg>
        <pc:spChg chg="add del mod modVis">
          <ac:chgData name="Liang Yang" userId="7a7c13a3-d26c-494d-9577-22c5c3f8a804" providerId="ADAL" clId="{F9BD9BDC-E3A3-481D-AB34-D332F61F93E2}" dt="2024-05-13T15:59:15.844" v="3096"/>
          <ac:spMkLst>
            <pc:docMk/>
            <pc:sldMk cId="2599966740" sldId="257"/>
            <ac:spMk id="1029" creationId="{BF1C60AD-2FF5-E272-3A27-71CA51208A7B}"/>
          </ac:spMkLst>
        </pc:spChg>
        <pc:graphicFrameChg chg="mod">
          <ac:chgData name="Liang Yang" userId="7a7c13a3-d26c-494d-9577-22c5c3f8a804" providerId="ADAL" clId="{F9BD9BDC-E3A3-481D-AB34-D332F61F93E2}" dt="2024-05-13T15:59:15.848" v="3098"/>
          <ac:graphicFrameMkLst>
            <pc:docMk/>
            <pc:sldMk cId="2599966740" sldId="257"/>
            <ac:graphicFrameMk id="4" creationId="{B0DF492E-9842-C18F-58FA-A416AC8482E4}"/>
          </ac:graphicFrameMkLst>
        </pc:graphicFrameChg>
        <pc:picChg chg="add del">
          <ac:chgData name="Liang Yang" userId="7a7c13a3-d26c-494d-9577-22c5c3f8a804" providerId="ADAL" clId="{F9BD9BDC-E3A3-481D-AB34-D332F61F93E2}" dt="2024-05-13T15:28:56.860" v="1851" actId="478"/>
          <ac:picMkLst>
            <pc:docMk/>
            <pc:sldMk cId="2599966740" sldId="257"/>
            <ac:picMk id="43" creationId="{ABEDA005-9DB2-0F88-F6E1-29E5B9914C8D}"/>
          </ac:picMkLst>
        </pc:picChg>
        <pc:picChg chg="add mod ord">
          <ac:chgData name="Liang Yang" userId="7a7c13a3-d26c-494d-9577-22c5c3f8a804" providerId="ADAL" clId="{F9BD9BDC-E3A3-481D-AB34-D332F61F93E2}" dt="2024-05-13T15:44:28.622" v="2165" actId="1076"/>
          <ac:picMkLst>
            <pc:docMk/>
            <pc:sldMk cId="2599966740" sldId="257"/>
            <ac:picMk id="45" creationId="{4505C6D1-3C65-C068-2218-17A0CC896C66}"/>
          </ac:picMkLst>
        </pc:picChg>
        <pc:picChg chg="add mod">
          <ac:chgData name="Liang Yang" userId="7a7c13a3-d26c-494d-9577-22c5c3f8a804" providerId="ADAL" clId="{F9BD9BDC-E3A3-481D-AB34-D332F61F93E2}" dt="2024-05-13T16:18:38.334" v="3415" actId="1038"/>
          <ac:picMkLst>
            <pc:docMk/>
            <pc:sldMk cId="2599966740" sldId="257"/>
            <ac:picMk id="1026" creationId="{E53B59E2-197D-8D1F-A46E-359EE3450282}"/>
          </ac:picMkLst>
        </pc:picChg>
        <pc:picChg chg="add del mod">
          <ac:chgData name="Liang Yang" userId="7a7c13a3-d26c-494d-9577-22c5c3f8a804" providerId="ADAL" clId="{F9BD9BDC-E3A3-481D-AB34-D332F61F93E2}" dt="2024-05-13T15:38:19.027" v="1895" actId="478"/>
          <ac:picMkLst>
            <pc:docMk/>
            <pc:sldMk cId="2599966740" sldId="257"/>
            <ac:picMk id="1028" creationId="{F312B1C0-A306-1700-F507-48156AC3B85D}"/>
          </ac:picMkLst>
        </pc:picChg>
        <pc:picChg chg="add mod">
          <ac:chgData name="Liang Yang" userId="7a7c13a3-d26c-494d-9577-22c5c3f8a804" providerId="ADAL" clId="{F9BD9BDC-E3A3-481D-AB34-D332F61F93E2}" dt="2024-05-13T15:44:55.348" v="2168" actId="14100"/>
          <ac:picMkLst>
            <pc:docMk/>
            <pc:sldMk cId="2599966740" sldId="257"/>
            <ac:picMk id="1030" creationId="{9AAECD12-45B2-EC5B-5F8B-3B0F79BECF51}"/>
          </ac:picMkLst>
        </pc:picChg>
        <pc:cxnChg chg="add mod">
          <ac:chgData name="Liang Yang" userId="7a7c13a3-d26c-494d-9577-22c5c3f8a804" providerId="ADAL" clId="{F9BD9BDC-E3A3-481D-AB34-D332F61F93E2}" dt="2024-05-13T15:47:42.430" v="2172" actId="14100"/>
          <ac:cxnSpMkLst>
            <pc:docMk/>
            <pc:sldMk cId="2599966740" sldId="257"/>
            <ac:cxnSpMk id="55" creationId="{605875F3-EEBE-C9CF-6D68-F353F4E8B4B2}"/>
          </ac:cxnSpMkLst>
        </pc:cxnChg>
        <pc:cxnChg chg="add mod">
          <ac:chgData name="Liang Yang" userId="7a7c13a3-d26c-494d-9577-22c5c3f8a804" providerId="ADAL" clId="{F9BD9BDC-E3A3-481D-AB34-D332F61F93E2}" dt="2024-05-13T15:47:37.446" v="2171" actId="14100"/>
          <ac:cxnSpMkLst>
            <pc:docMk/>
            <pc:sldMk cId="2599966740" sldId="257"/>
            <ac:cxnSpMk id="57" creationId="{CC7FC0B2-0BAE-469A-499B-950E29495BF7}"/>
          </ac:cxnSpMkLst>
        </pc:cxnChg>
      </pc:sldChg>
      <pc:sldChg chg="modSp del mod">
        <pc:chgData name="Liang Yang" userId="7a7c13a3-d26c-494d-9577-22c5c3f8a804" providerId="ADAL" clId="{F9BD9BDC-E3A3-481D-AB34-D332F61F93E2}" dt="2024-05-13T15:48:34.964" v="2227" actId="47"/>
        <pc:sldMkLst>
          <pc:docMk/>
          <pc:sldMk cId="3382520487" sldId="259"/>
        </pc:sldMkLst>
        <pc:spChg chg="mod">
          <ac:chgData name="Liang Yang" userId="7a7c13a3-d26c-494d-9577-22c5c3f8a804" providerId="ADAL" clId="{F9BD9BDC-E3A3-481D-AB34-D332F61F93E2}" dt="2024-05-13T15:48:32.357" v="2222" actId="948"/>
          <ac:spMkLst>
            <pc:docMk/>
            <pc:sldMk cId="3382520487" sldId="259"/>
            <ac:spMk id="2" creationId="{CBADF92F-4066-F747-AAEF-597A8340E927}"/>
          </ac:spMkLst>
        </pc:spChg>
        <pc:graphicFrameChg chg="mod">
          <ac:chgData name="Liang Yang" userId="7a7c13a3-d26c-494d-9577-22c5c3f8a804" providerId="ADAL" clId="{F9BD9BDC-E3A3-481D-AB34-D332F61F93E2}" dt="2024-05-13T15:48:32.365" v="2226"/>
          <ac:graphicFrameMkLst>
            <pc:docMk/>
            <pc:sldMk cId="3382520487" sldId="259"/>
            <ac:graphicFrameMk id="4" creationId="{A7DCE05D-E767-7154-8329-BC79BABCD58B}"/>
          </ac:graphicFrameMkLst>
        </pc:graphicFrameChg>
      </pc:sldChg>
      <pc:sldChg chg="addSp delSp modSp mod">
        <pc:chgData name="Liang Yang" userId="7a7c13a3-d26c-494d-9577-22c5c3f8a804" providerId="ADAL" clId="{F9BD9BDC-E3A3-481D-AB34-D332F61F93E2}" dt="2024-05-13T21:59:01.672" v="11143" actId="20577"/>
        <pc:sldMkLst>
          <pc:docMk/>
          <pc:sldMk cId="628374823" sldId="264"/>
        </pc:sldMkLst>
        <pc:spChg chg="mod">
          <ac:chgData name="Liang Yang" userId="7a7c13a3-d26c-494d-9577-22c5c3f8a804" providerId="ADAL" clId="{F9BD9BDC-E3A3-481D-AB34-D332F61F93E2}" dt="2024-05-13T21:57:01.817" v="10926" actId="948"/>
          <ac:spMkLst>
            <pc:docMk/>
            <pc:sldMk cId="628374823" sldId="264"/>
            <ac:spMk id="2" creationId="{190C47B4-A196-DC50-2C83-9E3B6718CD8B}"/>
          </ac:spMkLst>
        </pc:spChg>
        <pc:spChg chg="del">
          <ac:chgData name="Liang Yang" userId="7a7c13a3-d26c-494d-9577-22c5c3f8a804" providerId="ADAL" clId="{F9BD9BDC-E3A3-481D-AB34-D332F61F93E2}" dt="2024-05-13T21:51:23.685" v="10541" actId="478"/>
          <ac:spMkLst>
            <pc:docMk/>
            <pc:sldMk cId="628374823" sldId="264"/>
            <ac:spMk id="3" creationId="{258D66AB-FBA9-315A-DF2A-41BC878DAF24}"/>
          </ac:spMkLst>
        </pc:spChg>
        <pc:spChg chg="del">
          <ac:chgData name="Liang Yang" userId="7a7c13a3-d26c-494d-9577-22c5c3f8a804" providerId="ADAL" clId="{F9BD9BDC-E3A3-481D-AB34-D332F61F93E2}" dt="2024-05-13T21:51:23.685" v="10541" actId="478"/>
          <ac:spMkLst>
            <pc:docMk/>
            <pc:sldMk cId="628374823" sldId="264"/>
            <ac:spMk id="4" creationId="{0DB41AD0-AF77-8177-2272-DC949B363792}"/>
          </ac:spMkLst>
        </pc:spChg>
        <pc:spChg chg="add del mod modVis">
          <ac:chgData name="Liang Yang" userId="7a7c13a3-d26c-494d-9577-22c5c3f8a804" providerId="ADAL" clId="{F9BD9BDC-E3A3-481D-AB34-D332F61F93E2}" dt="2024-05-13T19:46:08.242" v="7382"/>
          <ac:spMkLst>
            <pc:docMk/>
            <pc:sldMk cId="628374823" sldId="264"/>
            <ac:spMk id="6" creationId="{8973F9D3-D4CA-B92E-D17B-054F68230023}"/>
          </ac:spMkLst>
        </pc:spChg>
        <pc:spChg chg="add del mod modVis">
          <ac:chgData name="Liang Yang" userId="7a7c13a3-d26c-494d-9577-22c5c3f8a804" providerId="ADAL" clId="{F9BD9BDC-E3A3-481D-AB34-D332F61F93E2}" dt="2024-05-13T19:46:10.119" v="7417"/>
          <ac:spMkLst>
            <pc:docMk/>
            <pc:sldMk cId="628374823" sldId="264"/>
            <ac:spMk id="7" creationId="{B515CADB-C049-165C-ECD5-C4FE14D9B6C7}"/>
          </ac:spMkLst>
        </pc:spChg>
        <pc:spChg chg="add del mod modVis">
          <ac:chgData name="Liang Yang" userId="7a7c13a3-d26c-494d-9577-22c5c3f8a804" providerId="ADAL" clId="{F9BD9BDC-E3A3-481D-AB34-D332F61F93E2}" dt="2024-05-13T19:46:11.220" v="7446"/>
          <ac:spMkLst>
            <pc:docMk/>
            <pc:sldMk cId="628374823" sldId="264"/>
            <ac:spMk id="8" creationId="{941376C3-06F1-30E9-477F-99D8B75F08A2}"/>
          </ac:spMkLst>
        </pc:spChg>
        <pc:spChg chg="add del mod modVis">
          <ac:chgData name="Liang Yang" userId="7a7c13a3-d26c-494d-9577-22c5c3f8a804" providerId="ADAL" clId="{F9BD9BDC-E3A3-481D-AB34-D332F61F93E2}" dt="2024-05-13T19:46:12.532" v="7480"/>
          <ac:spMkLst>
            <pc:docMk/>
            <pc:sldMk cId="628374823" sldId="264"/>
            <ac:spMk id="9" creationId="{99921445-7B5E-B925-368D-313F08B8FCC4}"/>
          </ac:spMkLst>
        </pc:spChg>
        <pc:spChg chg="add del mod modVis">
          <ac:chgData name="Liang Yang" userId="7a7c13a3-d26c-494d-9577-22c5c3f8a804" providerId="ADAL" clId="{F9BD9BDC-E3A3-481D-AB34-D332F61F93E2}" dt="2024-05-13T19:46:13.410" v="7509"/>
          <ac:spMkLst>
            <pc:docMk/>
            <pc:sldMk cId="628374823" sldId="264"/>
            <ac:spMk id="10" creationId="{C068F09B-3D2D-C05F-42D0-25D9FE671329}"/>
          </ac:spMkLst>
        </pc:spChg>
        <pc:spChg chg="add del mod modVis">
          <ac:chgData name="Liang Yang" userId="7a7c13a3-d26c-494d-9577-22c5c3f8a804" providerId="ADAL" clId="{F9BD9BDC-E3A3-481D-AB34-D332F61F93E2}" dt="2024-05-13T19:46:14.603" v="7540"/>
          <ac:spMkLst>
            <pc:docMk/>
            <pc:sldMk cId="628374823" sldId="264"/>
            <ac:spMk id="11" creationId="{28CC15B4-37F0-2793-E27C-FF4D92726BAD}"/>
          </ac:spMkLst>
        </pc:spChg>
        <pc:spChg chg="add del mod modVis">
          <ac:chgData name="Liang Yang" userId="7a7c13a3-d26c-494d-9577-22c5c3f8a804" providerId="ADAL" clId="{F9BD9BDC-E3A3-481D-AB34-D332F61F93E2}" dt="2024-05-13T19:46:16.535" v="7575"/>
          <ac:spMkLst>
            <pc:docMk/>
            <pc:sldMk cId="628374823" sldId="264"/>
            <ac:spMk id="12" creationId="{58659756-992C-D54F-09A8-70CAF3F190DE}"/>
          </ac:spMkLst>
        </pc:spChg>
        <pc:spChg chg="add del mod modVis">
          <ac:chgData name="Liang Yang" userId="7a7c13a3-d26c-494d-9577-22c5c3f8a804" providerId="ADAL" clId="{F9BD9BDC-E3A3-481D-AB34-D332F61F93E2}" dt="2024-05-13T19:46:18.132" v="7609"/>
          <ac:spMkLst>
            <pc:docMk/>
            <pc:sldMk cId="628374823" sldId="264"/>
            <ac:spMk id="13" creationId="{CFAFCEB5-114D-17B1-B0CC-9AC236E17D30}"/>
          </ac:spMkLst>
        </pc:spChg>
        <pc:spChg chg="add del mod modVis">
          <ac:chgData name="Liang Yang" userId="7a7c13a3-d26c-494d-9577-22c5c3f8a804" providerId="ADAL" clId="{F9BD9BDC-E3A3-481D-AB34-D332F61F93E2}" dt="2024-05-13T19:46:19.034" v="7641"/>
          <ac:spMkLst>
            <pc:docMk/>
            <pc:sldMk cId="628374823" sldId="264"/>
            <ac:spMk id="14" creationId="{48E13326-97C0-F574-2DF9-5242087157B6}"/>
          </ac:spMkLst>
        </pc:spChg>
        <pc:spChg chg="add del mod modVis">
          <ac:chgData name="Liang Yang" userId="7a7c13a3-d26c-494d-9577-22c5c3f8a804" providerId="ADAL" clId="{F9BD9BDC-E3A3-481D-AB34-D332F61F93E2}" dt="2024-05-13T21:51:19.148" v="10509"/>
          <ac:spMkLst>
            <pc:docMk/>
            <pc:sldMk cId="628374823" sldId="264"/>
            <ac:spMk id="15" creationId="{2F7AA028-A59C-20B3-CE8C-6DCF254AE684}"/>
          </ac:spMkLst>
        </pc:spChg>
        <pc:spChg chg="add del mod modVis">
          <ac:chgData name="Liang Yang" userId="7a7c13a3-d26c-494d-9577-22c5c3f8a804" providerId="ADAL" clId="{F9BD9BDC-E3A3-481D-AB34-D332F61F93E2}" dt="2024-05-13T21:51:19.742" v="10538"/>
          <ac:spMkLst>
            <pc:docMk/>
            <pc:sldMk cId="628374823" sldId="264"/>
            <ac:spMk id="16" creationId="{286C53CE-6601-2EFA-EEEE-8021EAAA0B4D}"/>
          </ac:spMkLst>
        </pc:spChg>
        <pc:spChg chg="add mod">
          <ac:chgData name="Liang Yang" userId="7a7c13a3-d26c-494d-9577-22c5c3f8a804" providerId="ADAL" clId="{F9BD9BDC-E3A3-481D-AB34-D332F61F93E2}" dt="2024-05-13T21:53:28.469" v="10736" actId="20577"/>
          <ac:spMkLst>
            <pc:docMk/>
            <pc:sldMk cId="628374823" sldId="264"/>
            <ac:spMk id="18" creationId="{51404F7E-1406-F731-49DD-CCA2C2C349A5}"/>
          </ac:spMkLst>
        </pc:spChg>
        <pc:spChg chg="add mod">
          <ac:chgData name="Liang Yang" userId="7a7c13a3-d26c-494d-9577-22c5c3f8a804" providerId="ADAL" clId="{F9BD9BDC-E3A3-481D-AB34-D332F61F93E2}" dt="2024-05-13T21:53:34.460" v="10737"/>
          <ac:spMkLst>
            <pc:docMk/>
            <pc:sldMk cId="628374823" sldId="264"/>
            <ac:spMk id="19" creationId="{05037167-E8C0-EF28-AA9C-6E3CF33319DB}"/>
          </ac:spMkLst>
        </pc:spChg>
        <pc:spChg chg="add mod">
          <ac:chgData name="Liang Yang" userId="7a7c13a3-d26c-494d-9577-22c5c3f8a804" providerId="ADAL" clId="{F9BD9BDC-E3A3-481D-AB34-D332F61F93E2}" dt="2024-05-13T21:53:54.673" v="10785" actId="20577"/>
          <ac:spMkLst>
            <pc:docMk/>
            <pc:sldMk cId="628374823" sldId="264"/>
            <ac:spMk id="20" creationId="{93BDD155-D56B-5618-48C0-0051F4438B5D}"/>
          </ac:spMkLst>
        </pc:spChg>
        <pc:spChg chg="add mod">
          <ac:chgData name="Liang Yang" userId="7a7c13a3-d26c-494d-9577-22c5c3f8a804" providerId="ADAL" clId="{F9BD9BDC-E3A3-481D-AB34-D332F61F93E2}" dt="2024-05-13T21:59:01.672" v="11143" actId="20577"/>
          <ac:spMkLst>
            <pc:docMk/>
            <pc:sldMk cId="628374823" sldId="264"/>
            <ac:spMk id="21" creationId="{B61A0AC6-5A15-B627-62A8-F73FFB203945}"/>
          </ac:spMkLst>
        </pc:spChg>
        <pc:spChg chg="add del mod modVis">
          <ac:chgData name="Liang Yang" userId="7a7c13a3-d26c-494d-9577-22c5c3f8a804" providerId="ADAL" clId="{F9BD9BDC-E3A3-481D-AB34-D332F61F93E2}" dt="2024-05-13T21:56:59.801" v="10916"/>
          <ac:spMkLst>
            <pc:docMk/>
            <pc:sldMk cId="628374823" sldId="264"/>
            <ac:spMk id="22" creationId="{BDD12C9A-A698-B6BC-E694-390F599FB050}"/>
          </ac:spMkLst>
        </pc:spChg>
        <pc:spChg chg="add del mod modVis">
          <ac:chgData name="Liang Yang" userId="7a7c13a3-d26c-494d-9577-22c5c3f8a804" providerId="ADAL" clId="{F9BD9BDC-E3A3-481D-AB34-D332F61F93E2}" dt="2024-05-13T21:57:01.848" v="10951"/>
          <ac:spMkLst>
            <pc:docMk/>
            <pc:sldMk cId="628374823" sldId="264"/>
            <ac:spMk id="23" creationId="{3F14B951-CC28-749B-5194-749C3776AE51}"/>
          </ac:spMkLst>
        </pc:spChg>
        <pc:graphicFrameChg chg="mod">
          <ac:chgData name="Liang Yang" userId="7a7c13a3-d26c-494d-9577-22c5c3f8a804" providerId="ADAL" clId="{F9BD9BDC-E3A3-481D-AB34-D332F61F93E2}" dt="2024-05-13T21:57:01.848" v="10953"/>
          <ac:graphicFrameMkLst>
            <pc:docMk/>
            <pc:sldMk cId="628374823" sldId="264"/>
            <ac:graphicFrameMk id="5" creationId="{C6112179-68C2-DCF3-BF3D-B38605D02DE1}"/>
          </ac:graphicFrameMkLst>
        </pc:graphicFrameChg>
        <pc:picChg chg="add mod">
          <ac:chgData name="Liang Yang" userId="7a7c13a3-d26c-494d-9577-22c5c3f8a804" providerId="ADAL" clId="{F9BD9BDC-E3A3-481D-AB34-D332F61F93E2}" dt="2024-05-13T21:53:02.969" v="10675" actId="1035"/>
          <ac:picMkLst>
            <pc:docMk/>
            <pc:sldMk cId="628374823" sldId="264"/>
            <ac:picMk id="17" creationId="{2A4A28CF-8D69-25CD-C57F-7B17F306994B}"/>
          </ac:picMkLst>
        </pc:picChg>
      </pc:sldChg>
      <pc:sldChg chg="addSp delSp modSp del mod">
        <pc:chgData name="Liang Yang" userId="7a7c13a3-d26c-494d-9577-22c5c3f8a804" providerId="ADAL" clId="{F9BD9BDC-E3A3-481D-AB34-D332F61F93E2}" dt="2024-05-13T21:51:29.544" v="10543" actId="47"/>
        <pc:sldMkLst>
          <pc:docMk/>
          <pc:sldMk cId="3366306021" sldId="266"/>
        </pc:sldMkLst>
        <pc:spChg chg="mod">
          <ac:chgData name="Liang Yang" userId="7a7c13a3-d26c-494d-9577-22c5c3f8a804" providerId="ADAL" clId="{F9BD9BDC-E3A3-481D-AB34-D332F61F93E2}" dt="2024-05-13T19:46:52.686" v="7937" actId="948"/>
          <ac:spMkLst>
            <pc:docMk/>
            <pc:sldMk cId="3366306021" sldId="266"/>
            <ac:spMk id="2" creationId="{190C47B4-A196-DC50-2C83-9E3B6718CD8B}"/>
          </ac:spMkLst>
        </pc:spChg>
        <pc:spChg chg="add del mod modVis">
          <ac:chgData name="Liang Yang" userId="7a7c13a3-d26c-494d-9577-22c5c3f8a804" providerId="ADAL" clId="{F9BD9BDC-E3A3-481D-AB34-D332F61F93E2}" dt="2024-05-13T19:46:48.592" v="7867"/>
          <ac:spMkLst>
            <pc:docMk/>
            <pc:sldMk cId="3366306021" sldId="266"/>
            <ac:spMk id="6" creationId="{6A7624F1-8975-6178-26B4-DF1C49142EA2}"/>
          </ac:spMkLst>
        </pc:spChg>
        <pc:spChg chg="add del mod modVis">
          <ac:chgData name="Liang Yang" userId="7a7c13a3-d26c-494d-9577-22c5c3f8a804" providerId="ADAL" clId="{F9BD9BDC-E3A3-481D-AB34-D332F61F93E2}" dt="2024-05-13T19:46:50.291" v="7902"/>
          <ac:spMkLst>
            <pc:docMk/>
            <pc:sldMk cId="3366306021" sldId="266"/>
            <ac:spMk id="7" creationId="{99DF2AB4-4042-B563-6ADF-1FE6257A8B29}"/>
          </ac:spMkLst>
        </pc:spChg>
        <pc:spChg chg="add del mod modVis">
          <ac:chgData name="Liang Yang" userId="7a7c13a3-d26c-494d-9577-22c5c3f8a804" providerId="ADAL" clId="{F9BD9BDC-E3A3-481D-AB34-D332F61F93E2}" dt="2024-05-13T19:46:51.984" v="7933"/>
          <ac:spMkLst>
            <pc:docMk/>
            <pc:sldMk cId="3366306021" sldId="266"/>
            <ac:spMk id="8" creationId="{450E42CA-3DF3-342B-2B05-02A542EF61F1}"/>
          </ac:spMkLst>
        </pc:spChg>
        <pc:spChg chg="add del mod modVis">
          <ac:chgData name="Liang Yang" userId="7a7c13a3-d26c-494d-9577-22c5c3f8a804" providerId="ADAL" clId="{F9BD9BDC-E3A3-481D-AB34-D332F61F93E2}" dt="2024-05-13T19:46:52.709" v="7962"/>
          <ac:spMkLst>
            <pc:docMk/>
            <pc:sldMk cId="3366306021" sldId="266"/>
            <ac:spMk id="9" creationId="{F697D592-8C5F-920A-D343-263ADB8F4396}"/>
          </ac:spMkLst>
        </pc:spChg>
        <pc:graphicFrameChg chg="mod">
          <ac:chgData name="Liang Yang" userId="7a7c13a3-d26c-494d-9577-22c5c3f8a804" providerId="ADAL" clId="{F9BD9BDC-E3A3-481D-AB34-D332F61F93E2}" dt="2024-05-13T19:46:52.712" v="7964"/>
          <ac:graphicFrameMkLst>
            <pc:docMk/>
            <pc:sldMk cId="3366306021" sldId="266"/>
            <ac:graphicFrameMk id="5" creationId="{C6112179-68C2-DCF3-BF3D-B38605D02DE1}"/>
          </ac:graphicFrameMkLst>
        </pc:graphicFrameChg>
      </pc:sldChg>
      <pc:sldChg chg="addSp delSp modSp mod">
        <pc:chgData name="Liang Yang" userId="7a7c13a3-d26c-494d-9577-22c5c3f8a804" providerId="ADAL" clId="{F9BD9BDC-E3A3-481D-AB34-D332F61F93E2}" dt="2024-05-13T22:05:33.886" v="11934" actId="20577"/>
        <pc:sldMkLst>
          <pc:docMk/>
          <pc:sldMk cId="2634376879" sldId="267"/>
        </pc:sldMkLst>
        <pc:spChg chg="mod">
          <ac:chgData name="Liang Yang" userId="7a7c13a3-d26c-494d-9577-22c5c3f8a804" providerId="ADAL" clId="{F9BD9BDC-E3A3-481D-AB34-D332F61F93E2}" dt="2024-05-13T22:01:45.046" v="11501" actId="948"/>
          <ac:spMkLst>
            <pc:docMk/>
            <pc:sldMk cId="2634376879" sldId="267"/>
            <ac:spMk id="2" creationId="{190C47B4-A196-DC50-2C83-9E3B6718CD8B}"/>
          </ac:spMkLst>
        </pc:spChg>
        <pc:spChg chg="del">
          <ac:chgData name="Liang Yang" userId="7a7c13a3-d26c-494d-9577-22c5c3f8a804" providerId="ADAL" clId="{F9BD9BDC-E3A3-481D-AB34-D332F61F93E2}" dt="2024-05-13T21:59:19.891" v="11144" actId="478"/>
          <ac:spMkLst>
            <pc:docMk/>
            <pc:sldMk cId="2634376879" sldId="267"/>
            <ac:spMk id="3" creationId="{258D66AB-FBA9-315A-DF2A-41BC878DAF24}"/>
          </ac:spMkLst>
        </pc:spChg>
        <pc:spChg chg="del">
          <ac:chgData name="Liang Yang" userId="7a7c13a3-d26c-494d-9577-22c5c3f8a804" providerId="ADAL" clId="{F9BD9BDC-E3A3-481D-AB34-D332F61F93E2}" dt="2024-05-13T21:59:19.891" v="11144" actId="478"/>
          <ac:spMkLst>
            <pc:docMk/>
            <pc:sldMk cId="2634376879" sldId="267"/>
            <ac:spMk id="4" creationId="{0DB41AD0-AF77-8177-2272-DC949B363792}"/>
          </ac:spMkLst>
        </pc:spChg>
        <pc:spChg chg="add del mod modVis">
          <ac:chgData name="Liang Yang" userId="7a7c13a3-d26c-494d-9577-22c5c3f8a804" providerId="ADAL" clId="{F9BD9BDC-E3A3-481D-AB34-D332F61F93E2}" dt="2024-05-13T21:51:40.313" v="10601"/>
          <ac:spMkLst>
            <pc:docMk/>
            <pc:sldMk cId="2634376879" sldId="267"/>
            <ac:spMk id="6" creationId="{3383C421-82E1-F49A-2093-8A26EC2F67B1}"/>
          </ac:spMkLst>
        </pc:spChg>
        <pc:spChg chg="add del mod modVis">
          <ac:chgData name="Liang Yang" userId="7a7c13a3-d26c-494d-9577-22c5c3f8a804" providerId="ADAL" clId="{F9BD9BDC-E3A3-481D-AB34-D332F61F93E2}" dt="2024-05-13T21:51:41.734" v="10633"/>
          <ac:spMkLst>
            <pc:docMk/>
            <pc:sldMk cId="2634376879" sldId="267"/>
            <ac:spMk id="7" creationId="{1F61E754-B45E-F210-75D1-800A75101DDB}"/>
          </ac:spMkLst>
        </pc:spChg>
        <pc:spChg chg="add mod">
          <ac:chgData name="Liang Yang" userId="7a7c13a3-d26c-494d-9577-22c5c3f8a804" providerId="ADAL" clId="{F9BD9BDC-E3A3-481D-AB34-D332F61F93E2}" dt="2024-05-13T22:04:34.583" v="11835" actId="20577"/>
          <ac:spMkLst>
            <pc:docMk/>
            <pc:sldMk cId="2634376879" sldId="267"/>
            <ac:spMk id="8" creationId="{8DFBEAD5-F7D4-6EE4-634C-F32964824353}"/>
          </ac:spMkLst>
        </pc:spChg>
        <pc:spChg chg="add mod">
          <ac:chgData name="Liang Yang" userId="7a7c13a3-d26c-494d-9577-22c5c3f8a804" providerId="ADAL" clId="{F9BD9BDC-E3A3-481D-AB34-D332F61F93E2}" dt="2024-05-13T22:00:22.183" v="11270"/>
          <ac:spMkLst>
            <pc:docMk/>
            <pc:sldMk cId="2634376879" sldId="267"/>
            <ac:spMk id="9" creationId="{714A5C1C-6C37-9893-51B8-CBD556B1E968}"/>
          </ac:spMkLst>
        </pc:spChg>
        <pc:spChg chg="add mod">
          <ac:chgData name="Liang Yang" userId="7a7c13a3-d26c-494d-9577-22c5c3f8a804" providerId="ADAL" clId="{F9BD9BDC-E3A3-481D-AB34-D332F61F93E2}" dt="2024-05-13T22:05:33.886" v="11934" actId="20577"/>
          <ac:spMkLst>
            <pc:docMk/>
            <pc:sldMk cId="2634376879" sldId="267"/>
            <ac:spMk id="10" creationId="{94D0F9D3-4D25-0DF6-E88A-E84B38A1A2C6}"/>
          </ac:spMkLst>
        </pc:spChg>
        <pc:spChg chg="add del mod modVis">
          <ac:chgData name="Liang Yang" userId="7a7c13a3-d26c-494d-9577-22c5c3f8a804" providerId="ADAL" clId="{F9BD9BDC-E3A3-481D-AB34-D332F61F93E2}" dt="2024-05-13T22:01:40.983" v="11458"/>
          <ac:spMkLst>
            <pc:docMk/>
            <pc:sldMk cId="2634376879" sldId="267"/>
            <ac:spMk id="11" creationId="{5A4C0779-465E-4B91-CF75-B746F14C9DC6}"/>
          </ac:spMkLst>
        </pc:spChg>
        <pc:spChg chg="add del mod modVis">
          <ac:chgData name="Liang Yang" userId="7a7c13a3-d26c-494d-9577-22c5c3f8a804" providerId="ADAL" clId="{F9BD9BDC-E3A3-481D-AB34-D332F61F93E2}" dt="2024-05-13T22:01:43.452" v="11493"/>
          <ac:spMkLst>
            <pc:docMk/>
            <pc:sldMk cId="2634376879" sldId="267"/>
            <ac:spMk id="12" creationId="{0C9AE12E-8482-EC75-9FD0-2A7A238E5F37}"/>
          </ac:spMkLst>
        </pc:spChg>
        <pc:spChg chg="add del mod modVis">
          <ac:chgData name="Liang Yang" userId="7a7c13a3-d26c-494d-9577-22c5c3f8a804" providerId="ADAL" clId="{F9BD9BDC-E3A3-481D-AB34-D332F61F93E2}" dt="2024-05-13T22:01:45.061" v="11526"/>
          <ac:spMkLst>
            <pc:docMk/>
            <pc:sldMk cId="2634376879" sldId="267"/>
            <ac:spMk id="13" creationId="{12EE7E1F-A4D4-6D89-F282-FDBB54FFA278}"/>
          </ac:spMkLst>
        </pc:spChg>
        <pc:spChg chg="add mod">
          <ac:chgData name="Liang Yang" userId="7a7c13a3-d26c-494d-9577-22c5c3f8a804" providerId="ADAL" clId="{F9BD9BDC-E3A3-481D-AB34-D332F61F93E2}" dt="2024-05-13T22:03:42.645" v="11667" actId="571"/>
          <ac:spMkLst>
            <pc:docMk/>
            <pc:sldMk cId="2634376879" sldId="267"/>
            <ac:spMk id="14" creationId="{417F0F7E-3C1C-5C68-1758-CF0459D6B2FE}"/>
          </ac:spMkLst>
        </pc:spChg>
        <pc:graphicFrameChg chg="mod">
          <ac:chgData name="Liang Yang" userId="7a7c13a3-d26c-494d-9577-22c5c3f8a804" providerId="ADAL" clId="{F9BD9BDC-E3A3-481D-AB34-D332F61F93E2}" dt="2024-05-13T22:01:45.077" v="11528"/>
          <ac:graphicFrameMkLst>
            <pc:docMk/>
            <pc:sldMk cId="2634376879" sldId="267"/>
            <ac:graphicFrameMk id="5" creationId="{C6112179-68C2-DCF3-BF3D-B38605D02DE1}"/>
          </ac:graphicFrameMkLst>
        </pc:graphicFrameChg>
      </pc:sldChg>
      <pc:sldChg chg="addSp delSp modSp add mod">
        <pc:chgData name="Liang Yang" userId="7a7c13a3-d26c-494d-9577-22c5c3f8a804" providerId="ADAL" clId="{F9BD9BDC-E3A3-481D-AB34-D332F61F93E2}" dt="2024-05-13T20:00:21.993" v="8079" actId="1076"/>
        <pc:sldMkLst>
          <pc:docMk/>
          <pc:sldMk cId="356493524" sldId="269"/>
        </pc:sldMkLst>
        <pc:spChg chg="mod">
          <ac:chgData name="Liang Yang" userId="7a7c13a3-d26c-494d-9577-22c5c3f8a804" providerId="ADAL" clId="{F9BD9BDC-E3A3-481D-AB34-D332F61F93E2}" dt="2024-05-13T18:00:05.626" v="7046" actId="948"/>
          <ac:spMkLst>
            <pc:docMk/>
            <pc:sldMk cId="356493524" sldId="269"/>
            <ac:spMk id="2" creationId="{CBADF92F-4066-F747-AAEF-597A8340E927}"/>
          </ac:spMkLst>
        </pc:spChg>
        <pc:spChg chg="add del mod modVis">
          <ac:chgData name="Liang Yang" userId="7a7c13a3-d26c-494d-9577-22c5c3f8a804" providerId="ADAL" clId="{F9BD9BDC-E3A3-481D-AB34-D332F61F93E2}" dt="2024-05-13T15:48:44.279" v="2288"/>
          <ac:spMkLst>
            <pc:docMk/>
            <pc:sldMk cId="356493524" sldId="269"/>
            <ac:spMk id="3" creationId="{5FF4F1C5-2300-0200-98CC-307B159D62DE}"/>
          </ac:spMkLst>
        </pc:spChg>
        <pc:spChg chg="add del mod modVis">
          <ac:chgData name="Liang Yang" userId="7a7c13a3-d26c-494d-9577-22c5c3f8a804" providerId="ADAL" clId="{F9BD9BDC-E3A3-481D-AB34-D332F61F93E2}" dt="2024-05-13T15:48:46.255" v="2322"/>
          <ac:spMkLst>
            <pc:docMk/>
            <pc:sldMk cId="356493524" sldId="269"/>
            <ac:spMk id="5" creationId="{158DF162-3EC2-4308-8FF9-082AFE79272F}"/>
          </ac:spMkLst>
        </pc:spChg>
        <pc:spChg chg="add del mod modVis">
          <ac:chgData name="Liang Yang" userId="7a7c13a3-d26c-494d-9577-22c5c3f8a804" providerId="ADAL" clId="{F9BD9BDC-E3A3-481D-AB34-D332F61F93E2}" dt="2024-05-13T15:48:47.096" v="2352"/>
          <ac:spMkLst>
            <pc:docMk/>
            <pc:sldMk cId="356493524" sldId="269"/>
            <ac:spMk id="6" creationId="{15E29116-2B18-6FDA-DAC7-E1AC09725283}"/>
          </ac:spMkLst>
        </pc:spChg>
        <pc:spChg chg="add del mod modVis">
          <ac:chgData name="Liang Yang" userId="7a7c13a3-d26c-494d-9577-22c5c3f8a804" providerId="ADAL" clId="{F9BD9BDC-E3A3-481D-AB34-D332F61F93E2}" dt="2024-05-13T15:48:48.804" v="2383"/>
          <ac:spMkLst>
            <pc:docMk/>
            <pc:sldMk cId="356493524" sldId="269"/>
            <ac:spMk id="7" creationId="{E0B48280-3333-26B6-9396-CBD352AF97D0}"/>
          </ac:spMkLst>
        </pc:spChg>
        <pc:spChg chg="add del mod modVis">
          <ac:chgData name="Liang Yang" userId="7a7c13a3-d26c-494d-9577-22c5c3f8a804" providerId="ADAL" clId="{F9BD9BDC-E3A3-481D-AB34-D332F61F93E2}" dt="2024-05-13T17:08:33.553" v="5048"/>
          <ac:spMkLst>
            <pc:docMk/>
            <pc:sldMk cId="356493524" sldId="269"/>
            <ac:spMk id="8" creationId="{3BB505D4-789B-E948-BB2F-2A2F2A89F10A}"/>
          </ac:spMkLst>
        </pc:spChg>
        <pc:spChg chg="add del mod modVis">
          <ac:chgData name="Liang Yang" userId="7a7c13a3-d26c-494d-9577-22c5c3f8a804" providerId="ADAL" clId="{F9BD9BDC-E3A3-481D-AB34-D332F61F93E2}" dt="2024-05-13T17:08:35.040" v="5082"/>
          <ac:spMkLst>
            <pc:docMk/>
            <pc:sldMk cId="356493524" sldId="269"/>
            <ac:spMk id="9" creationId="{D47F59F1-15DB-9A2D-89E7-76F81CACA81E}"/>
          </ac:spMkLst>
        </pc:spChg>
        <pc:spChg chg="add del mod modVis">
          <ac:chgData name="Liang Yang" userId="7a7c13a3-d26c-494d-9577-22c5c3f8a804" providerId="ADAL" clId="{F9BD9BDC-E3A3-481D-AB34-D332F61F93E2}" dt="2024-05-13T17:08:35.903" v="5113"/>
          <ac:spMkLst>
            <pc:docMk/>
            <pc:sldMk cId="356493524" sldId="269"/>
            <ac:spMk id="10" creationId="{AFDF4D1C-5710-D615-784E-95562C9440DF}"/>
          </ac:spMkLst>
        </pc:spChg>
        <pc:spChg chg="add del mod modVis">
          <ac:chgData name="Liang Yang" userId="7a7c13a3-d26c-494d-9577-22c5c3f8a804" providerId="ADAL" clId="{F9BD9BDC-E3A3-481D-AB34-D332F61F93E2}" dt="2024-05-13T17:08:39.254" v="5158"/>
          <ac:spMkLst>
            <pc:docMk/>
            <pc:sldMk cId="356493524" sldId="269"/>
            <ac:spMk id="11" creationId="{FA1DB8CA-E545-A1CE-5800-ACE1C4D34D67}"/>
          </ac:spMkLst>
        </pc:spChg>
        <pc:spChg chg="add del mod modVis">
          <ac:chgData name="Liang Yang" userId="7a7c13a3-d26c-494d-9577-22c5c3f8a804" providerId="ADAL" clId="{F9BD9BDC-E3A3-481D-AB34-D332F61F93E2}" dt="2024-05-13T17:08:40.422" v="5191"/>
          <ac:spMkLst>
            <pc:docMk/>
            <pc:sldMk cId="356493524" sldId="269"/>
            <ac:spMk id="12" creationId="{DB7B8FCE-B693-4E7F-6A46-1FE7FA766876}"/>
          </ac:spMkLst>
        </pc:spChg>
        <pc:spChg chg="add del mod modVis">
          <ac:chgData name="Liang Yang" userId="7a7c13a3-d26c-494d-9577-22c5c3f8a804" providerId="ADAL" clId="{F9BD9BDC-E3A3-481D-AB34-D332F61F93E2}" dt="2024-05-13T17:08:42.356" v="5225"/>
          <ac:spMkLst>
            <pc:docMk/>
            <pc:sldMk cId="356493524" sldId="269"/>
            <ac:spMk id="13" creationId="{B2957137-E3D4-7C77-201B-DA986F1E90AA}"/>
          </ac:spMkLst>
        </pc:spChg>
        <pc:spChg chg="add del mod modVis">
          <ac:chgData name="Liang Yang" userId="7a7c13a3-d26c-494d-9577-22c5c3f8a804" providerId="ADAL" clId="{F9BD9BDC-E3A3-481D-AB34-D332F61F93E2}" dt="2024-05-13T17:08:44.741" v="5260"/>
          <ac:spMkLst>
            <pc:docMk/>
            <pc:sldMk cId="356493524" sldId="269"/>
            <ac:spMk id="14" creationId="{B30F79D3-F581-6A69-C3D3-6C46B7C94522}"/>
          </ac:spMkLst>
        </pc:spChg>
        <pc:spChg chg="add del mod modVis">
          <ac:chgData name="Liang Yang" userId="7a7c13a3-d26c-494d-9577-22c5c3f8a804" providerId="ADAL" clId="{F9BD9BDC-E3A3-481D-AB34-D332F61F93E2}" dt="2024-05-13T17:08:45.631" v="5289"/>
          <ac:spMkLst>
            <pc:docMk/>
            <pc:sldMk cId="356493524" sldId="269"/>
            <ac:spMk id="15" creationId="{0FDD5300-DE4F-99D8-6652-ECBA26FA8383}"/>
          </ac:spMkLst>
        </pc:spChg>
        <pc:spChg chg="add del mod modVis">
          <ac:chgData name="Liang Yang" userId="7a7c13a3-d26c-494d-9577-22c5c3f8a804" providerId="ADAL" clId="{F9BD9BDC-E3A3-481D-AB34-D332F61F93E2}" dt="2024-05-13T17:08:47.192" v="5321"/>
          <ac:spMkLst>
            <pc:docMk/>
            <pc:sldMk cId="356493524" sldId="269"/>
            <ac:spMk id="16" creationId="{3C1129A3-ED87-3E54-3D0F-8CC786B3A78E}"/>
          </ac:spMkLst>
        </pc:spChg>
        <pc:spChg chg="add del mod modVis">
          <ac:chgData name="Liang Yang" userId="7a7c13a3-d26c-494d-9577-22c5c3f8a804" providerId="ADAL" clId="{F9BD9BDC-E3A3-481D-AB34-D332F61F93E2}" dt="2024-05-13T17:08:49.805" v="5362"/>
          <ac:spMkLst>
            <pc:docMk/>
            <pc:sldMk cId="356493524" sldId="269"/>
            <ac:spMk id="17" creationId="{9E87A3AF-81C9-06FC-0B94-E018A66C17A2}"/>
          </ac:spMkLst>
        </pc:spChg>
        <pc:spChg chg="add del mod modVis">
          <ac:chgData name="Liang Yang" userId="7a7c13a3-d26c-494d-9577-22c5c3f8a804" providerId="ADAL" clId="{F9BD9BDC-E3A3-481D-AB34-D332F61F93E2}" dt="2024-05-13T17:08:54.928" v="5393"/>
          <ac:spMkLst>
            <pc:docMk/>
            <pc:sldMk cId="356493524" sldId="269"/>
            <ac:spMk id="18" creationId="{CAF05BDA-8DC6-B150-9CD7-383DDEB4C6E6}"/>
          </ac:spMkLst>
        </pc:spChg>
        <pc:spChg chg="add del mod modVis">
          <ac:chgData name="Liang Yang" userId="7a7c13a3-d26c-494d-9577-22c5c3f8a804" providerId="ADAL" clId="{F9BD9BDC-E3A3-481D-AB34-D332F61F93E2}" dt="2024-05-13T17:08:55.989" v="5423"/>
          <ac:spMkLst>
            <pc:docMk/>
            <pc:sldMk cId="356493524" sldId="269"/>
            <ac:spMk id="19" creationId="{6909E125-FE36-7F4D-9E6F-8CD4386A86E5}"/>
          </ac:spMkLst>
        </pc:spChg>
        <pc:spChg chg="add del mod modVis">
          <ac:chgData name="Liang Yang" userId="7a7c13a3-d26c-494d-9577-22c5c3f8a804" providerId="ADAL" clId="{F9BD9BDC-E3A3-481D-AB34-D332F61F93E2}" dt="2024-05-13T17:08:58.337" v="5458"/>
          <ac:spMkLst>
            <pc:docMk/>
            <pc:sldMk cId="356493524" sldId="269"/>
            <ac:spMk id="20" creationId="{F6F375B3-E622-2922-6332-A3CE5D5B6D27}"/>
          </ac:spMkLst>
        </pc:spChg>
        <pc:spChg chg="add del mod modVis">
          <ac:chgData name="Liang Yang" userId="7a7c13a3-d26c-494d-9577-22c5c3f8a804" providerId="ADAL" clId="{F9BD9BDC-E3A3-481D-AB34-D332F61F93E2}" dt="2024-05-13T17:09:04.041" v="5486"/>
          <ac:spMkLst>
            <pc:docMk/>
            <pc:sldMk cId="356493524" sldId="269"/>
            <ac:spMk id="21" creationId="{16D4CE6D-D14C-1357-D65A-DEABEBD7825A}"/>
          </ac:spMkLst>
        </pc:spChg>
        <pc:spChg chg="add del mod modVis">
          <ac:chgData name="Liang Yang" userId="7a7c13a3-d26c-494d-9577-22c5c3f8a804" providerId="ADAL" clId="{F9BD9BDC-E3A3-481D-AB34-D332F61F93E2}" dt="2024-05-13T17:09:06.693" v="5514"/>
          <ac:spMkLst>
            <pc:docMk/>
            <pc:sldMk cId="356493524" sldId="269"/>
            <ac:spMk id="22" creationId="{0B07259B-0E5D-3A81-D515-10812125D497}"/>
          </ac:spMkLst>
        </pc:spChg>
        <pc:spChg chg="add del mod modVis">
          <ac:chgData name="Liang Yang" userId="7a7c13a3-d26c-494d-9577-22c5c3f8a804" providerId="ADAL" clId="{F9BD9BDC-E3A3-481D-AB34-D332F61F93E2}" dt="2024-05-13T17:09:23.259" v="5542"/>
          <ac:spMkLst>
            <pc:docMk/>
            <pc:sldMk cId="356493524" sldId="269"/>
            <ac:spMk id="23" creationId="{04EFDFFB-0781-E5AC-0519-419005B30E9A}"/>
          </ac:spMkLst>
        </pc:spChg>
        <pc:spChg chg="add del mod modVis">
          <ac:chgData name="Liang Yang" userId="7a7c13a3-d26c-494d-9577-22c5c3f8a804" providerId="ADAL" clId="{F9BD9BDC-E3A3-481D-AB34-D332F61F93E2}" dt="2024-05-13T17:09:23.930" v="5570"/>
          <ac:spMkLst>
            <pc:docMk/>
            <pc:sldMk cId="356493524" sldId="269"/>
            <ac:spMk id="24" creationId="{4C564E13-5B55-CFB4-E9EC-BDF0FC3C7F7F}"/>
          </ac:spMkLst>
        </pc:spChg>
        <pc:spChg chg="add del mod modVis">
          <ac:chgData name="Liang Yang" userId="7a7c13a3-d26c-494d-9577-22c5c3f8a804" providerId="ADAL" clId="{F9BD9BDC-E3A3-481D-AB34-D332F61F93E2}" dt="2024-05-13T17:09:25.415" v="5598"/>
          <ac:spMkLst>
            <pc:docMk/>
            <pc:sldMk cId="356493524" sldId="269"/>
            <ac:spMk id="25" creationId="{C9A3417E-7782-2460-EB3A-887A1CC90D9C}"/>
          </ac:spMkLst>
        </pc:spChg>
        <pc:spChg chg="add del mod modVis">
          <ac:chgData name="Liang Yang" userId="7a7c13a3-d26c-494d-9577-22c5c3f8a804" providerId="ADAL" clId="{F9BD9BDC-E3A3-481D-AB34-D332F61F93E2}" dt="2024-05-13T17:09:30.611" v="5646"/>
          <ac:spMkLst>
            <pc:docMk/>
            <pc:sldMk cId="356493524" sldId="269"/>
            <ac:spMk id="26" creationId="{850DF7AD-3325-B865-7F89-393E5F143084}"/>
          </ac:spMkLst>
        </pc:spChg>
        <pc:spChg chg="add del mod modVis">
          <ac:chgData name="Liang Yang" userId="7a7c13a3-d26c-494d-9577-22c5c3f8a804" providerId="ADAL" clId="{F9BD9BDC-E3A3-481D-AB34-D332F61F93E2}" dt="2024-05-13T17:09:34.251" v="5677"/>
          <ac:spMkLst>
            <pc:docMk/>
            <pc:sldMk cId="356493524" sldId="269"/>
            <ac:spMk id="27" creationId="{F989702A-84E9-A6E0-70C2-03D6FBD7E2F7}"/>
          </ac:spMkLst>
        </pc:spChg>
        <pc:spChg chg="add del mod modVis">
          <ac:chgData name="Liang Yang" userId="7a7c13a3-d26c-494d-9577-22c5c3f8a804" providerId="ADAL" clId="{F9BD9BDC-E3A3-481D-AB34-D332F61F93E2}" dt="2024-05-13T17:09:35.270" v="5707"/>
          <ac:spMkLst>
            <pc:docMk/>
            <pc:sldMk cId="356493524" sldId="269"/>
            <ac:spMk id="28" creationId="{B8570D3F-722A-53BA-3B3E-05A98B47049C}"/>
          </ac:spMkLst>
        </pc:spChg>
        <pc:spChg chg="add del mod modVis">
          <ac:chgData name="Liang Yang" userId="7a7c13a3-d26c-494d-9577-22c5c3f8a804" providerId="ADAL" clId="{F9BD9BDC-E3A3-481D-AB34-D332F61F93E2}" dt="2024-05-13T17:09:40.013" v="5736"/>
          <ac:spMkLst>
            <pc:docMk/>
            <pc:sldMk cId="356493524" sldId="269"/>
            <ac:spMk id="29" creationId="{6D6E0094-7A82-A079-6888-4D6F7EF8557D}"/>
          </ac:spMkLst>
        </pc:spChg>
        <pc:spChg chg="add del mod modVis">
          <ac:chgData name="Liang Yang" userId="7a7c13a3-d26c-494d-9577-22c5c3f8a804" providerId="ADAL" clId="{F9BD9BDC-E3A3-481D-AB34-D332F61F93E2}" dt="2024-05-13T17:09:41.879" v="5768"/>
          <ac:spMkLst>
            <pc:docMk/>
            <pc:sldMk cId="356493524" sldId="269"/>
            <ac:spMk id="30" creationId="{A7764599-ABC0-7031-2244-738D32DAFE4C}"/>
          </ac:spMkLst>
        </pc:spChg>
        <pc:spChg chg="add del mod modVis">
          <ac:chgData name="Liang Yang" userId="7a7c13a3-d26c-494d-9577-22c5c3f8a804" providerId="ADAL" clId="{F9BD9BDC-E3A3-481D-AB34-D332F61F93E2}" dt="2024-05-13T17:09:43.177" v="5798"/>
          <ac:spMkLst>
            <pc:docMk/>
            <pc:sldMk cId="356493524" sldId="269"/>
            <ac:spMk id="31" creationId="{5FA0EF46-4033-6E30-912C-D07153EBE9AB}"/>
          </ac:spMkLst>
        </pc:spChg>
        <pc:spChg chg="add del mod modVis">
          <ac:chgData name="Liang Yang" userId="7a7c13a3-d26c-494d-9577-22c5c3f8a804" providerId="ADAL" clId="{F9BD9BDC-E3A3-481D-AB34-D332F61F93E2}" dt="2024-05-13T17:09:46.861" v="5830"/>
          <ac:spMkLst>
            <pc:docMk/>
            <pc:sldMk cId="356493524" sldId="269"/>
            <ac:spMk id="32" creationId="{3EEA3CFE-53AB-1B1A-59A0-712EEBE01B0F}"/>
          </ac:spMkLst>
        </pc:spChg>
        <pc:spChg chg="add del mod modVis">
          <ac:chgData name="Liang Yang" userId="7a7c13a3-d26c-494d-9577-22c5c3f8a804" providerId="ADAL" clId="{F9BD9BDC-E3A3-481D-AB34-D332F61F93E2}" dt="2024-05-13T17:09:48.828" v="5858"/>
          <ac:spMkLst>
            <pc:docMk/>
            <pc:sldMk cId="356493524" sldId="269"/>
            <ac:spMk id="33" creationId="{970E663C-20CC-BDAA-2942-A7F3ACB54368}"/>
          </ac:spMkLst>
        </pc:spChg>
        <pc:spChg chg="add del mod modVis">
          <ac:chgData name="Liang Yang" userId="7a7c13a3-d26c-494d-9577-22c5c3f8a804" providerId="ADAL" clId="{F9BD9BDC-E3A3-481D-AB34-D332F61F93E2}" dt="2024-05-13T17:09:49.671" v="5889"/>
          <ac:spMkLst>
            <pc:docMk/>
            <pc:sldMk cId="356493524" sldId="269"/>
            <ac:spMk id="34" creationId="{67295E6F-9706-CDDF-A0F6-8B93E1F14081}"/>
          </ac:spMkLst>
        </pc:spChg>
        <pc:spChg chg="add del mod modVis">
          <ac:chgData name="Liang Yang" userId="7a7c13a3-d26c-494d-9577-22c5c3f8a804" providerId="ADAL" clId="{F9BD9BDC-E3A3-481D-AB34-D332F61F93E2}" dt="2024-05-13T17:09:50.328" v="5918"/>
          <ac:spMkLst>
            <pc:docMk/>
            <pc:sldMk cId="356493524" sldId="269"/>
            <ac:spMk id="35" creationId="{EEE17CC8-B797-368E-3A88-516C147DB7C8}"/>
          </ac:spMkLst>
        </pc:spChg>
        <pc:spChg chg="add del mod modVis">
          <ac:chgData name="Liang Yang" userId="7a7c13a3-d26c-494d-9577-22c5c3f8a804" providerId="ADAL" clId="{F9BD9BDC-E3A3-481D-AB34-D332F61F93E2}" dt="2024-05-13T17:14:02.233" v="5947"/>
          <ac:spMkLst>
            <pc:docMk/>
            <pc:sldMk cId="356493524" sldId="269"/>
            <ac:spMk id="36" creationId="{17737B35-630E-864E-5B4D-E6A1C9FEE8E4}"/>
          </ac:spMkLst>
        </pc:spChg>
        <pc:spChg chg="add del mod modVis">
          <ac:chgData name="Liang Yang" userId="7a7c13a3-d26c-494d-9577-22c5c3f8a804" providerId="ADAL" clId="{F9BD9BDC-E3A3-481D-AB34-D332F61F93E2}" dt="2024-05-13T17:14:03.480" v="5976"/>
          <ac:spMkLst>
            <pc:docMk/>
            <pc:sldMk cId="356493524" sldId="269"/>
            <ac:spMk id="37" creationId="{1AFD7259-5D59-A584-D6D6-D69BCAFFC78A}"/>
          </ac:spMkLst>
        </pc:spChg>
        <pc:spChg chg="add del mod modVis">
          <ac:chgData name="Liang Yang" userId="7a7c13a3-d26c-494d-9577-22c5c3f8a804" providerId="ADAL" clId="{F9BD9BDC-E3A3-481D-AB34-D332F61F93E2}" dt="2024-05-13T17:14:05.707" v="6004"/>
          <ac:spMkLst>
            <pc:docMk/>
            <pc:sldMk cId="356493524" sldId="269"/>
            <ac:spMk id="39" creationId="{A4605BFB-10AC-BC38-8437-3EEC744D53AF}"/>
          </ac:spMkLst>
        </pc:spChg>
        <pc:spChg chg="add del mod modVis">
          <ac:chgData name="Liang Yang" userId="7a7c13a3-d26c-494d-9577-22c5c3f8a804" providerId="ADAL" clId="{F9BD9BDC-E3A3-481D-AB34-D332F61F93E2}" dt="2024-05-13T17:14:06.440" v="6032"/>
          <ac:spMkLst>
            <pc:docMk/>
            <pc:sldMk cId="356493524" sldId="269"/>
            <ac:spMk id="40" creationId="{AA470E75-A067-7102-6BF9-4380DC1814F5}"/>
          </ac:spMkLst>
        </pc:spChg>
        <pc:spChg chg="add del mod modVis">
          <ac:chgData name="Liang Yang" userId="7a7c13a3-d26c-494d-9577-22c5c3f8a804" providerId="ADAL" clId="{F9BD9BDC-E3A3-481D-AB34-D332F61F93E2}" dt="2024-05-13T17:14:26.817" v="6089"/>
          <ac:spMkLst>
            <pc:docMk/>
            <pc:sldMk cId="356493524" sldId="269"/>
            <ac:spMk id="41" creationId="{DAF48D6D-0F59-3270-3F8E-A3E1D57274AF}"/>
          </ac:spMkLst>
        </pc:spChg>
        <pc:spChg chg="add del mod modVis">
          <ac:chgData name="Liang Yang" userId="7a7c13a3-d26c-494d-9577-22c5c3f8a804" providerId="ADAL" clId="{F9BD9BDC-E3A3-481D-AB34-D332F61F93E2}" dt="2024-05-13T18:00:04.300" v="7038"/>
          <ac:spMkLst>
            <pc:docMk/>
            <pc:sldMk cId="356493524" sldId="269"/>
            <ac:spMk id="42" creationId="{F8DC0C4E-9C16-7487-1F24-3E25C92B06B9}"/>
          </ac:spMkLst>
        </pc:spChg>
        <pc:spChg chg="add del mod modVis">
          <ac:chgData name="Liang Yang" userId="7a7c13a3-d26c-494d-9577-22c5c3f8a804" providerId="ADAL" clId="{F9BD9BDC-E3A3-481D-AB34-D332F61F93E2}" dt="2024-05-13T18:00:05.654" v="7070"/>
          <ac:spMkLst>
            <pc:docMk/>
            <pc:sldMk cId="356493524" sldId="269"/>
            <ac:spMk id="43" creationId="{E4196ED1-8544-36B3-92DE-035B84969F02}"/>
          </ac:spMkLst>
        </pc:spChg>
        <pc:spChg chg="add del">
          <ac:chgData name="Liang Yang" userId="7a7c13a3-d26c-494d-9577-22c5c3f8a804" providerId="ADAL" clId="{F9BD9BDC-E3A3-481D-AB34-D332F61F93E2}" dt="2024-05-13T19:12:48.416" v="7132" actId="22"/>
          <ac:spMkLst>
            <pc:docMk/>
            <pc:sldMk cId="356493524" sldId="269"/>
            <ac:spMk id="46" creationId="{A3164520-C3A9-CC4F-7FFC-0927A9F005D6}"/>
          </ac:spMkLst>
        </pc:spChg>
        <pc:spChg chg="add mod topLvl">
          <ac:chgData name="Liang Yang" userId="7a7c13a3-d26c-494d-9577-22c5c3f8a804" providerId="ADAL" clId="{F9BD9BDC-E3A3-481D-AB34-D332F61F93E2}" dt="2024-05-13T20:00:21.993" v="8079" actId="1076"/>
          <ac:spMkLst>
            <pc:docMk/>
            <pc:sldMk cId="356493524" sldId="269"/>
            <ac:spMk id="48" creationId="{CBD48F80-36E6-29D4-92A2-C97111D50CC6}"/>
          </ac:spMkLst>
        </pc:spChg>
        <pc:spChg chg="add mod topLvl">
          <ac:chgData name="Liang Yang" userId="7a7c13a3-d26c-494d-9577-22c5c3f8a804" providerId="ADAL" clId="{F9BD9BDC-E3A3-481D-AB34-D332F61F93E2}" dt="2024-05-13T19:27:09.128" v="7310" actId="1035"/>
          <ac:spMkLst>
            <pc:docMk/>
            <pc:sldMk cId="356493524" sldId="269"/>
            <ac:spMk id="49" creationId="{5A8C2218-73A5-F5A0-D745-71B41CA51D23}"/>
          </ac:spMkLst>
        </pc:spChg>
        <pc:spChg chg="add mod topLvl">
          <ac:chgData name="Liang Yang" userId="7a7c13a3-d26c-494d-9577-22c5c3f8a804" providerId="ADAL" clId="{F9BD9BDC-E3A3-481D-AB34-D332F61F93E2}" dt="2024-05-13T19:27:09.128" v="7310" actId="1035"/>
          <ac:spMkLst>
            <pc:docMk/>
            <pc:sldMk cId="356493524" sldId="269"/>
            <ac:spMk id="50" creationId="{9783B92B-D924-67BE-A770-5B3E10805254}"/>
          </ac:spMkLst>
        </pc:spChg>
        <pc:spChg chg="add mod topLvl">
          <ac:chgData name="Liang Yang" userId="7a7c13a3-d26c-494d-9577-22c5c3f8a804" providerId="ADAL" clId="{F9BD9BDC-E3A3-481D-AB34-D332F61F93E2}" dt="2024-05-13T19:27:09.128" v="7310" actId="1035"/>
          <ac:spMkLst>
            <pc:docMk/>
            <pc:sldMk cId="356493524" sldId="269"/>
            <ac:spMk id="51" creationId="{15A95E19-F030-5A70-9EAB-EE790DED2DF7}"/>
          </ac:spMkLst>
        </pc:spChg>
        <pc:spChg chg="mod">
          <ac:chgData name="Liang Yang" userId="7a7c13a3-d26c-494d-9577-22c5c3f8a804" providerId="ADAL" clId="{F9BD9BDC-E3A3-481D-AB34-D332F61F93E2}" dt="2024-05-13T19:18:27.423" v="7238" actId="114"/>
          <ac:spMkLst>
            <pc:docMk/>
            <pc:sldMk cId="356493524" sldId="269"/>
            <ac:spMk id="52" creationId="{FA236359-00C2-3CE5-14B6-779BAD9F71DC}"/>
          </ac:spMkLst>
        </pc:spChg>
        <pc:spChg chg="del">
          <ac:chgData name="Liang Yang" userId="7a7c13a3-d26c-494d-9577-22c5c3f8a804" providerId="ADAL" clId="{F9BD9BDC-E3A3-481D-AB34-D332F61F93E2}" dt="2024-05-13T18:00:14.330" v="7073" actId="478"/>
          <ac:spMkLst>
            <pc:docMk/>
            <pc:sldMk cId="356493524" sldId="269"/>
            <ac:spMk id="53" creationId="{731B1CC3-1827-99A6-BC57-A114DBFCE863}"/>
          </ac:spMkLst>
        </pc:spChg>
        <pc:grpChg chg="add del mod">
          <ac:chgData name="Liang Yang" userId="7a7c13a3-d26c-494d-9577-22c5c3f8a804" providerId="ADAL" clId="{F9BD9BDC-E3A3-481D-AB34-D332F61F93E2}" dt="2024-05-13T19:15:16.790" v="7177" actId="165"/>
          <ac:grpSpMkLst>
            <pc:docMk/>
            <pc:sldMk cId="356493524" sldId="269"/>
            <ac:grpSpMk id="54" creationId="{833BCB0E-D22E-7A83-C022-B11E7044B36D}"/>
          </ac:grpSpMkLst>
        </pc:grpChg>
        <pc:grpChg chg="add del mod">
          <ac:chgData name="Liang Yang" userId="7a7c13a3-d26c-494d-9577-22c5c3f8a804" providerId="ADAL" clId="{F9BD9BDC-E3A3-481D-AB34-D332F61F93E2}" dt="2024-05-13T19:15:16.790" v="7177" actId="165"/>
          <ac:grpSpMkLst>
            <pc:docMk/>
            <pc:sldMk cId="356493524" sldId="269"/>
            <ac:grpSpMk id="56" creationId="{27EA2FB8-283A-06A6-5277-228704E8E657}"/>
          </ac:grpSpMkLst>
        </pc:grpChg>
        <pc:grpChg chg="add del mod">
          <ac:chgData name="Liang Yang" userId="7a7c13a3-d26c-494d-9577-22c5c3f8a804" providerId="ADAL" clId="{F9BD9BDC-E3A3-481D-AB34-D332F61F93E2}" dt="2024-05-13T19:15:16.790" v="7177" actId="165"/>
          <ac:grpSpMkLst>
            <pc:docMk/>
            <pc:sldMk cId="356493524" sldId="269"/>
            <ac:grpSpMk id="58" creationId="{704E38F2-DBB9-0357-225E-4DA8947ED286}"/>
          </ac:grpSpMkLst>
        </pc:grpChg>
        <pc:grpChg chg="add del mod">
          <ac:chgData name="Liang Yang" userId="7a7c13a3-d26c-494d-9577-22c5c3f8a804" providerId="ADAL" clId="{F9BD9BDC-E3A3-481D-AB34-D332F61F93E2}" dt="2024-05-13T19:15:16.790" v="7177" actId="165"/>
          <ac:grpSpMkLst>
            <pc:docMk/>
            <pc:sldMk cId="356493524" sldId="269"/>
            <ac:grpSpMk id="59" creationId="{821875FA-7155-3711-54B7-319FEB47EC2C}"/>
          </ac:grpSpMkLst>
        </pc:grpChg>
        <pc:graphicFrameChg chg="mod">
          <ac:chgData name="Liang Yang" userId="7a7c13a3-d26c-494d-9577-22c5c3f8a804" providerId="ADAL" clId="{F9BD9BDC-E3A3-481D-AB34-D332F61F93E2}" dt="2024-05-13T18:00:05.658" v="7072"/>
          <ac:graphicFrameMkLst>
            <pc:docMk/>
            <pc:sldMk cId="356493524" sldId="269"/>
            <ac:graphicFrameMk id="4" creationId="{B0DF492E-9842-C18F-58FA-A416AC8482E4}"/>
          </ac:graphicFrameMkLst>
        </pc:graphicFrameChg>
        <pc:picChg chg="del">
          <ac:chgData name="Liang Yang" userId="7a7c13a3-d26c-494d-9577-22c5c3f8a804" providerId="ADAL" clId="{F9BD9BDC-E3A3-481D-AB34-D332F61F93E2}" dt="2024-05-13T18:00:14.330" v="7073" actId="478"/>
          <ac:picMkLst>
            <pc:docMk/>
            <pc:sldMk cId="356493524" sldId="269"/>
            <ac:picMk id="45" creationId="{4505C6D1-3C65-C068-2218-17A0CC896C66}"/>
          </ac:picMkLst>
        </pc:picChg>
        <pc:picChg chg="del">
          <ac:chgData name="Liang Yang" userId="7a7c13a3-d26c-494d-9577-22c5c3f8a804" providerId="ADAL" clId="{F9BD9BDC-E3A3-481D-AB34-D332F61F93E2}" dt="2024-05-13T18:00:16.176" v="7074" actId="478"/>
          <ac:picMkLst>
            <pc:docMk/>
            <pc:sldMk cId="356493524" sldId="269"/>
            <ac:picMk id="1026" creationId="{E53B59E2-197D-8D1F-A46E-359EE3450282}"/>
          </ac:picMkLst>
        </pc:picChg>
        <pc:picChg chg="del">
          <ac:chgData name="Liang Yang" userId="7a7c13a3-d26c-494d-9577-22c5c3f8a804" providerId="ADAL" clId="{F9BD9BDC-E3A3-481D-AB34-D332F61F93E2}" dt="2024-05-13T18:00:14.330" v="7073" actId="478"/>
          <ac:picMkLst>
            <pc:docMk/>
            <pc:sldMk cId="356493524" sldId="269"/>
            <ac:picMk id="1030" creationId="{9AAECD12-45B2-EC5B-5F8B-3B0F79BECF51}"/>
          </ac:picMkLst>
        </pc:picChg>
        <pc:picChg chg="add mod topLvl">
          <ac:chgData name="Liang Yang" userId="7a7c13a3-d26c-494d-9577-22c5c3f8a804" providerId="ADAL" clId="{F9BD9BDC-E3A3-481D-AB34-D332F61F93E2}" dt="2024-05-13T19:27:13.870" v="7321" actId="1036"/>
          <ac:picMkLst>
            <pc:docMk/>
            <pc:sldMk cId="356493524" sldId="269"/>
            <ac:picMk id="4098" creationId="{29E534C1-FFC3-9931-3014-89FDAA04FF2D}"/>
          </ac:picMkLst>
        </pc:picChg>
        <pc:picChg chg="add mod topLvl">
          <ac:chgData name="Liang Yang" userId="7a7c13a3-d26c-494d-9577-22c5c3f8a804" providerId="ADAL" clId="{F9BD9BDC-E3A3-481D-AB34-D332F61F93E2}" dt="2024-05-13T19:27:13.870" v="7321" actId="1036"/>
          <ac:picMkLst>
            <pc:docMk/>
            <pc:sldMk cId="356493524" sldId="269"/>
            <ac:picMk id="4100" creationId="{B0B996DA-C36D-739C-B339-09CC1A5518B5}"/>
          </ac:picMkLst>
        </pc:picChg>
        <pc:picChg chg="add mod topLvl">
          <ac:chgData name="Liang Yang" userId="7a7c13a3-d26c-494d-9577-22c5c3f8a804" providerId="ADAL" clId="{F9BD9BDC-E3A3-481D-AB34-D332F61F93E2}" dt="2024-05-13T19:27:13.870" v="7321" actId="1036"/>
          <ac:picMkLst>
            <pc:docMk/>
            <pc:sldMk cId="356493524" sldId="269"/>
            <ac:picMk id="4102" creationId="{D3356DDF-9C5E-3D42-5D04-27D93E44DFD7}"/>
          </ac:picMkLst>
        </pc:picChg>
        <pc:picChg chg="add mod topLvl">
          <ac:chgData name="Liang Yang" userId="7a7c13a3-d26c-494d-9577-22c5c3f8a804" providerId="ADAL" clId="{F9BD9BDC-E3A3-481D-AB34-D332F61F93E2}" dt="2024-05-13T19:27:13.870" v="7321" actId="1036"/>
          <ac:picMkLst>
            <pc:docMk/>
            <pc:sldMk cId="356493524" sldId="269"/>
            <ac:picMk id="4104" creationId="{F5759B27-1C5C-A228-9207-4AC07C5B1693}"/>
          </ac:picMkLst>
        </pc:picChg>
        <pc:cxnChg chg="del">
          <ac:chgData name="Liang Yang" userId="7a7c13a3-d26c-494d-9577-22c5c3f8a804" providerId="ADAL" clId="{F9BD9BDC-E3A3-481D-AB34-D332F61F93E2}" dt="2024-05-13T18:00:14.330" v="7073" actId="478"/>
          <ac:cxnSpMkLst>
            <pc:docMk/>
            <pc:sldMk cId="356493524" sldId="269"/>
            <ac:cxnSpMk id="55" creationId="{605875F3-EEBE-C9CF-6D68-F353F4E8B4B2}"/>
          </ac:cxnSpMkLst>
        </pc:cxnChg>
        <pc:cxnChg chg="del">
          <ac:chgData name="Liang Yang" userId="7a7c13a3-d26c-494d-9577-22c5c3f8a804" providerId="ADAL" clId="{F9BD9BDC-E3A3-481D-AB34-D332F61F93E2}" dt="2024-05-13T18:00:14.330" v="7073" actId="478"/>
          <ac:cxnSpMkLst>
            <pc:docMk/>
            <pc:sldMk cId="356493524" sldId="269"/>
            <ac:cxnSpMk id="57" creationId="{CC7FC0B2-0BAE-469A-499B-950E29495BF7}"/>
          </ac:cxnSpMkLst>
        </pc:cxnChg>
      </pc:sldChg>
      <pc:sldChg chg="addSp delSp modSp add mod ord">
        <pc:chgData name="Liang Yang" userId="7a7c13a3-d26c-494d-9577-22c5c3f8a804" providerId="ADAL" clId="{F9BD9BDC-E3A3-481D-AB34-D332F61F93E2}" dt="2024-05-13T17:16:27.567" v="6864" actId="113"/>
        <pc:sldMkLst>
          <pc:docMk/>
          <pc:sldMk cId="2445939266" sldId="270"/>
        </pc:sldMkLst>
        <pc:spChg chg="mod">
          <ac:chgData name="Liang Yang" userId="7a7c13a3-d26c-494d-9577-22c5c3f8a804" providerId="ADAL" clId="{F9BD9BDC-E3A3-481D-AB34-D332F61F93E2}" dt="2024-05-13T15:59:35.343" v="3221" actId="948"/>
          <ac:spMkLst>
            <pc:docMk/>
            <pc:sldMk cId="2445939266" sldId="270"/>
            <ac:spMk id="2" creationId="{CBADF92F-4066-F747-AAEF-597A8340E927}"/>
          </ac:spMkLst>
        </pc:spChg>
        <pc:spChg chg="add del mod modVis">
          <ac:chgData name="Liang Yang" userId="7a7c13a3-d26c-494d-9577-22c5c3f8a804" providerId="ADAL" clId="{F9BD9BDC-E3A3-481D-AB34-D332F61F93E2}" dt="2024-05-13T15:49:19.383" v="2431"/>
          <ac:spMkLst>
            <pc:docMk/>
            <pc:sldMk cId="2445939266" sldId="270"/>
            <ac:spMk id="3" creationId="{16EEF258-5CD2-62D9-408D-BD3BC6A9AB54}"/>
          </ac:spMkLst>
        </pc:spChg>
        <pc:spChg chg="add del mod modVis">
          <ac:chgData name="Liang Yang" userId="7a7c13a3-d26c-494d-9577-22c5c3f8a804" providerId="ADAL" clId="{F9BD9BDC-E3A3-481D-AB34-D332F61F93E2}" dt="2024-05-13T15:49:20.625" v="2464"/>
          <ac:spMkLst>
            <pc:docMk/>
            <pc:sldMk cId="2445939266" sldId="270"/>
            <ac:spMk id="5" creationId="{11DD48E2-3891-76AF-C677-9471D7BB59DD}"/>
          </ac:spMkLst>
        </pc:spChg>
        <pc:spChg chg="add del mod modVis">
          <ac:chgData name="Liang Yang" userId="7a7c13a3-d26c-494d-9577-22c5c3f8a804" providerId="ADAL" clId="{F9BD9BDC-E3A3-481D-AB34-D332F61F93E2}" dt="2024-05-13T15:50:41.197" v="2524"/>
          <ac:spMkLst>
            <pc:docMk/>
            <pc:sldMk cId="2445939266" sldId="270"/>
            <ac:spMk id="6" creationId="{EEFA26C8-9AED-C1B2-FAD1-7E5C99B9D526}"/>
          </ac:spMkLst>
        </pc:spChg>
        <pc:spChg chg="add del mod modVis">
          <ac:chgData name="Liang Yang" userId="7a7c13a3-d26c-494d-9577-22c5c3f8a804" providerId="ADAL" clId="{F9BD9BDC-E3A3-481D-AB34-D332F61F93E2}" dt="2024-05-13T15:58:32.440" v="2559"/>
          <ac:spMkLst>
            <pc:docMk/>
            <pc:sldMk cId="2445939266" sldId="270"/>
            <ac:spMk id="7" creationId="{50B54AA2-8746-7B31-C2DC-B92D6FBB2EF6}"/>
          </ac:spMkLst>
        </pc:spChg>
        <pc:spChg chg="add del mod modVis">
          <ac:chgData name="Liang Yang" userId="7a7c13a3-d26c-494d-9577-22c5c3f8a804" providerId="ADAL" clId="{F9BD9BDC-E3A3-481D-AB34-D332F61F93E2}" dt="2024-05-13T15:58:33.340" v="2587"/>
          <ac:spMkLst>
            <pc:docMk/>
            <pc:sldMk cId="2445939266" sldId="270"/>
            <ac:spMk id="8" creationId="{E0CDE74D-39C7-6E6F-94DF-7B544907E198}"/>
          </ac:spMkLst>
        </pc:spChg>
        <pc:spChg chg="add del mod modVis">
          <ac:chgData name="Liang Yang" userId="7a7c13a3-d26c-494d-9577-22c5c3f8a804" providerId="ADAL" clId="{F9BD9BDC-E3A3-481D-AB34-D332F61F93E2}" dt="2024-05-13T15:58:33.942" v="2627"/>
          <ac:spMkLst>
            <pc:docMk/>
            <pc:sldMk cId="2445939266" sldId="270"/>
            <ac:spMk id="9" creationId="{AEE5F1E8-F697-198E-5776-BACFEEE4FE7B}"/>
          </ac:spMkLst>
        </pc:spChg>
        <pc:spChg chg="add del mod modVis">
          <ac:chgData name="Liang Yang" userId="7a7c13a3-d26c-494d-9577-22c5c3f8a804" providerId="ADAL" clId="{F9BD9BDC-E3A3-481D-AB34-D332F61F93E2}" dt="2024-05-13T15:58:37" v="2667"/>
          <ac:spMkLst>
            <pc:docMk/>
            <pc:sldMk cId="2445939266" sldId="270"/>
            <ac:spMk id="10" creationId="{EE397199-0A88-1CF5-A059-6AF88D1A10BD}"/>
          </ac:spMkLst>
        </pc:spChg>
        <pc:spChg chg="add del mod modVis">
          <ac:chgData name="Liang Yang" userId="7a7c13a3-d26c-494d-9577-22c5c3f8a804" providerId="ADAL" clId="{F9BD9BDC-E3A3-481D-AB34-D332F61F93E2}" dt="2024-05-13T15:58:39.149" v="2720"/>
          <ac:spMkLst>
            <pc:docMk/>
            <pc:sldMk cId="2445939266" sldId="270"/>
            <ac:spMk id="11" creationId="{9A62CB96-8F8D-F7E4-F5F5-AE61EBC5BE1B}"/>
          </ac:spMkLst>
        </pc:spChg>
        <pc:spChg chg="add del mod modVis">
          <ac:chgData name="Liang Yang" userId="7a7c13a3-d26c-494d-9577-22c5c3f8a804" providerId="ADAL" clId="{F9BD9BDC-E3A3-481D-AB34-D332F61F93E2}" dt="2024-05-13T15:58:40.297" v="2764"/>
          <ac:spMkLst>
            <pc:docMk/>
            <pc:sldMk cId="2445939266" sldId="270"/>
            <ac:spMk id="12" creationId="{1BA59064-D732-DA4A-5DBC-1773989C9414}"/>
          </ac:spMkLst>
        </pc:spChg>
        <pc:spChg chg="add del mod modVis">
          <ac:chgData name="Liang Yang" userId="7a7c13a3-d26c-494d-9577-22c5c3f8a804" providerId="ADAL" clId="{F9BD9BDC-E3A3-481D-AB34-D332F61F93E2}" dt="2024-05-13T15:58:41.360" v="2807"/>
          <ac:spMkLst>
            <pc:docMk/>
            <pc:sldMk cId="2445939266" sldId="270"/>
            <ac:spMk id="13" creationId="{50377E02-ECCB-8E3E-A052-1BD3F4354047}"/>
          </ac:spMkLst>
        </pc:spChg>
        <pc:spChg chg="add del mod modVis">
          <ac:chgData name="Liang Yang" userId="7a7c13a3-d26c-494d-9577-22c5c3f8a804" providerId="ADAL" clId="{F9BD9BDC-E3A3-481D-AB34-D332F61F93E2}" dt="2024-05-13T15:58:49.357" v="2857"/>
          <ac:spMkLst>
            <pc:docMk/>
            <pc:sldMk cId="2445939266" sldId="270"/>
            <ac:spMk id="14" creationId="{AEF6F661-65B3-3C8E-4BF0-7AB72F699169}"/>
          </ac:spMkLst>
        </pc:spChg>
        <pc:spChg chg="add del mod modVis">
          <ac:chgData name="Liang Yang" userId="7a7c13a3-d26c-494d-9577-22c5c3f8a804" providerId="ADAL" clId="{F9BD9BDC-E3A3-481D-AB34-D332F61F93E2}" dt="2024-05-13T15:58:51.109" v="2901"/>
          <ac:spMkLst>
            <pc:docMk/>
            <pc:sldMk cId="2445939266" sldId="270"/>
            <ac:spMk id="15" creationId="{EA948548-12B8-A78D-FB7A-A5B6EBE0256A}"/>
          </ac:spMkLst>
        </pc:spChg>
        <pc:spChg chg="add del mod modVis">
          <ac:chgData name="Liang Yang" userId="7a7c13a3-d26c-494d-9577-22c5c3f8a804" providerId="ADAL" clId="{F9BD9BDC-E3A3-481D-AB34-D332F61F93E2}" dt="2024-05-13T15:58:53.768" v="2952"/>
          <ac:spMkLst>
            <pc:docMk/>
            <pc:sldMk cId="2445939266" sldId="270"/>
            <ac:spMk id="16" creationId="{196609FF-2E4E-68E7-6FB5-5710AC0290A5}"/>
          </ac:spMkLst>
        </pc:spChg>
        <pc:spChg chg="add del mod modVis">
          <ac:chgData name="Liang Yang" userId="7a7c13a3-d26c-494d-9577-22c5c3f8a804" providerId="ADAL" clId="{F9BD9BDC-E3A3-481D-AB34-D332F61F93E2}" dt="2024-05-13T15:59:28.171" v="3143"/>
          <ac:spMkLst>
            <pc:docMk/>
            <pc:sldMk cId="2445939266" sldId="270"/>
            <ac:spMk id="17" creationId="{C3306461-7EB3-940B-21F1-4C2B2FBB9341}"/>
          </ac:spMkLst>
        </pc:spChg>
        <pc:spChg chg="add del mod modVis">
          <ac:chgData name="Liang Yang" userId="7a7c13a3-d26c-494d-9577-22c5c3f8a804" providerId="ADAL" clId="{F9BD9BDC-E3A3-481D-AB34-D332F61F93E2}" dt="2024-05-13T15:59:32.957" v="3209"/>
          <ac:spMkLst>
            <pc:docMk/>
            <pc:sldMk cId="2445939266" sldId="270"/>
            <ac:spMk id="18" creationId="{0908628B-2786-053C-0E8E-A5626146A819}"/>
          </ac:spMkLst>
        </pc:spChg>
        <pc:spChg chg="add del mod modVis">
          <ac:chgData name="Liang Yang" userId="7a7c13a3-d26c-494d-9577-22c5c3f8a804" providerId="ADAL" clId="{F9BD9BDC-E3A3-481D-AB34-D332F61F93E2}" dt="2024-05-13T15:59:35.387" v="3257"/>
          <ac:spMkLst>
            <pc:docMk/>
            <pc:sldMk cId="2445939266" sldId="270"/>
            <ac:spMk id="19" creationId="{6B107592-A0B1-C15B-2846-176665769814}"/>
          </ac:spMkLst>
        </pc:spChg>
        <pc:spChg chg="add del mod">
          <ac:chgData name="Liang Yang" userId="7a7c13a3-d26c-494d-9577-22c5c3f8a804" providerId="ADAL" clId="{F9BD9BDC-E3A3-481D-AB34-D332F61F93E2}" dt="2024-05-13T16:01:54.977" v="3263" actId="478"/>
          <ac:spMkLst>
            <pc:docMk/>
            <pc:sldMk cId="2445939266" sldId="270"/>
            <ac:spMk id="20" creationId="{8A7B3437-F31E-18EA-C144-B45F0CD9C30D}"/>
          </ac:spMkLst>
        </pc:spChg>
        <pc:spChg chg="add del mod">
          <ac:chgData name="Liang Yang" userId="7a7c13a3-d26c-494d-9577-22c5c3f8a804" providerId="ADAL" clId="{F9BD9BDC-E3A3-481D-AB34-D332F61F93E2}" dt="2024-05-13T16:01:54.977" v="3263" actId="478"/>
          <ac:spMkLst>
            <pc:docMk/>
            <pc:sldMk cId="2445939266" sldId="270"/>
            <ac:spMk id="21" creationId="{37035262-D6AC-5F27-7C7E-4BF355F007B8}"/>
          </ac:spMkLst>
        </pc:spChg>
        <pc:spChg chg="add mod">
          <ac:chgData name="Liang Yang" userId="7a7c13a3-d26c-494d-9577-22c5c3f8a804" providerId="ADAL" clId="{F9BD9BDC-E3A3-481D-AB34-D332F61F93E2}" dt="2024-05-13T17:16:18.744" v="6862" actId="113"/>
          <ac:spMkLst>
            <pc:docMk/>
            <pc:sldMk cId="2445939266" sldId="270"/>
            <ac:spMk id="25" creationId="{C3114F92-9BE5-D2C3-4574-B2722BEBF87F}"/>
          </ac:spMkLst>
        </pc:spChg>
        <pc:spChg chg="add del mod">
          <ac:chgData name="Liang Yang" userId="7a7c13a3-d26c-494d-9577-22c5c3f8a804" providerId="ADAL" clId="{F9BD9BDC-E3A3-481D-AB34-D332F61F93E2}" dt="2024-05-13T16:23:33.552" v="3651" actId="478"/>
          <ac:spMkLst>
            <pc:docMk/>
            <pc:sldMk cId="2445939266" sldId="270"/>
            <ac:spMk id="26" creationId="{87D0864A-D5E7-DB1A-BBF4-66E4EBB5BEE1}"/>
          </ac:spMkLst>
        </pc:spChg>
        <pc:spChg chg="add del mod">
          <ac:chgData name="Liang Yang" userId="7a7c13a3-d26c-494d-9577-22c5c3f8a804" providerId="ADAL" clId="{F9BD9BDC-E3A3-481D-AB34-D332F61F93E2}" dt="2024-05-13T16:23:33.552" v="3651" actId="478"/>
          <ac:spMkLst>
            <pc:docMk/>
            <pc:sldMk cId="2445939266" sldId="270"/>
            <ac:spMk id="27" creationId="{0EDAFA0E-81F3-EA58-CF89-C19094014FE7}"/>
          </ac:spMkLst>
        </pc:spChg>
        <pc:spChg chg="add mod">
          <ac:chgData name="Liang Yang" userId="7a7c13a3-d26c-494d-9577-22c5c3f8a804" providerId="ADAL" clId="{F9BD9BDC-E3A3-481D-AB34-D332F61F93E2}" dt="2024-05-13T17:16:23.824" v="6863" actId="113"/>
          <ac:spMkLst>
            <pc:docMk/>
            <pc:sldMk cId="2445939266" sldId="270"/>
            <ac:spMk id="47" creationId="{E4DAFEC8-0F68-FAD7-DD85-23A7679944B9}"/>
          </ac:spMkLst>
        </pc:spChg>
        <pc:spChg chg="add mod">
          <ac:chgData name="Liang Yang" userId="7a7c13a3-d26c-494d-9577-22c5c3f8a804" providerId="ADAL" clId="{F9BD9BDC-E3A3-481D-AB34-D332F61F93E2}" dt="2024-05-13T16:52:56.145" v="4424" actId="14100"/>
          <ac:spMkLst>
            <pc:docMk/>
            <pc:sldMk cId="2445939266" sldId="270"/>
            <ac:spMk id="48" creationId="{DBA7DC99-8135-7067-6EE1-14B25DA08D81}"/>
          </ac:spMkLst>
        </pc:spChg>
        <pc:spChg chg="mod">
          <ac:chgData name="Liang Yang" userId="7a7c13a3-d26c-494d-9577-22c5c3f8a804" providerId="ADAL" clId="{F9BD9BDC-E3A3-481D-AB34-D332F61F93E2}" dt="2024-05-13T16:23:40.631" v="3652" actId="113"/>
          <ac:spMkLst>
            <pc:docMk/>
            <pc:sldMk cId="2445939266" sldId="270"/>
            <ac:spMk id="52" creationId="{FA236359-00C2-3CE5-14B6-779BAD9F71DC}"/>
          </ac:spMkLst>
        </pc:spChg>
        <pc:spChg chg="del">
          <ac:chgData name="Liang Yang" userId="7a7c13a3-d26c-494d-9577-22c5c3f8a804" providerId="ADAL" clId="{F9BD9BDC-E3A3-481D-AB34-D332F61F93E2}" dt="2024-05-13T16:00:10.728" v="3260" actId="478"/>
          <ac:spMkLst>
            <pc:docMk/>
            <pc:sldMk cId="2445939266" sldId="270"/>
            <ac:spMk id="53" creationId="{731B1CC3-1827-99A6-BC57-A114DBFCE863}"/>
          </ac:spMkLst>
        </pc:spChg>
        <pc:spChg chg="add mod">
          <ac:chgData name="Liang Yang" userId="7a7c13a3-d26c-494d-9577-22c5c3f8a804" providerId="ADAL" clId="{F9BD9BDC-E3A3-481D-AB34-D332F61F93E2}" dt="2024-05-13T16:50:29.859" v="4374"/>
          <ac:spMkLst>
            <pc:docMk/>
            <pc:sldMk cId="2445939266" sldId="270"/>
            <ac:spMk id="63" creationId="{3C66FB14-B272-55AA-F48F-70BC931B8EF0}"/>
          </ac:spMkLst>
        </pc:spChg>
        <pc:spChg chg="add mod">
          <ac:chgData name="Liang Yang" userId="7a7c13a3-d26c-494d-9577-22c5c3f8a804" providerId="ADAL" clId="{F9BD9BDC-E3A3-481D-AB34-D332F61F93E2}" dt="2024-05-13T17:16:27.567" v="6864" actId="113"/>
          <ac:spMkLst>
            <pc:docMk/>
            <pc:sldMk cId="2445939266" sldId="270"/>
            <ac:spMk id="1024" creationId="{ED90FD5B-96CE-065D-E155-244BE0AD98EA}"/>
          </ac:spMkLst>
        </pc:spChg>
        <pc:spChg chg="add mod">
          <ac:chgData name="Liang Yang" userId="7a7c13a3-d26c-494d-9577-22c5c3f8a804" providerId="ADAL" clId="{F9BD9BDC-E3A3-481D-AB34-D332F61F93E2}" dt="2024-05-13T16:52:17.486" v="4413" actId="14100"/>
          <ac:spMkLst>
            <pc:docMk/>
            <pc:sldMk cId="2445939266" sldId="270"/>
            <ac:spMk id="1025" creationId="{AEC24CA6-0735-CDA1-CF8F-D9668E4604F4}"/>
          </ac:spMkLst>
        </pc:spChg>
        <pc:spChg chg="add mod">
          <ac:chgData name="Liang Yang" userId="7a7c13a3-d26c-494d-9577-22c5c3f8a804" providerId="ADAL" clId="{F9BD9BDC-E3A3-481D-AB34-D332F61F93E2}" dt="2024-05-13T16:53:06.877" v="4427" actId="1037"/>
          <ac:spMkLst>
            <pc:docMk/>
            <pc:sldMk cId="2445939266" sldId="270"/>
            <ac:spMk id="1027" creationId="{E2068F45-8E87-C77A-D9DA-314444A26BED}"/>
          </ac:spMkLst>
        </pc:spChg>
        <pc:spChg chg="add mod">
          <ac:chgData name="Liang Yang" userId="7a7c13a3-d26c-494d-9577-22c5c3f8a804" providerId="ADAL" clId="{F9BD9BDC-E3A3-481D-AB34-D332F61F93E2}" dt="2024-05-13T17:07:23.431" v="5012" actId="1037"/>
          <ac:spMkLst>
            <pc:docMk/>
            <pc:sldMk cId="2445939266" sldId="270"/>
            <ac:spMk id="1043" creationId="{30CC13F2-F023-F415-B3CA-901EB73ADFD8}"/>
          </ac:spMkLst>
        </pc:spChg>
        <pc:spChg chg="add mod">
          <ac:chgData name="Liang Yang" userId="7a7c13a3-d26c-494d-9577-22c5c3f8a804" providerId="ADAL" clId="{F9BD9BDC-E3A3-481D-AB34-D332F61F93E2}" dt="2024-05-13T17:07:26.404" v="5015" actId="1037"/>
          <ac:spMkLst>
            <pc:docMk/>
            <pc:sldMk cId="2445939266" sldId="270"/>
            <ac:spMk id="1051" creationId="{00EBEE05-A74B-8481-9379-EFAE3E5D2C12}"/>
          </ac:spMkLst>
        </pc:spChg>
        <pc:graphicFrameChg chg="mod">
          <ac:chgData name="Liang Yang" userId="7a7c13a3-d26c-494d-9577-22c5c3f8a804" providerId="ADAL" clId="{F9BD9BDC-E3A3-481D-AB34-D332F61F93E2}" dt="2024-05-13T15:59:35.391" v="3259"/>
          <ac:graphicFrameMkLst>
            <pc:docMk/>
            <pc:sldMk cId="2445939266" sldId="270"/>
            <ac:graphicFrameMk id="4" creationId="{B0DF492E-9842-C18F-58FA-A416AC8482E4}"/>
          </ac:graphicFrameMkLst>
        </pc:graphicFrameChg>
        <pc:picChg chg="add del mod">
          <ac:chgData name="Liang Yang" userId="7a7c13a3-d26c-494d-9577-22c5c3f8a804" providerId="ADAL" clId="{F9BD9BDC-E3A3-481D-AB34-D332F61F93E2}" dt="2024-05-13T16:14:22.264" v="3317" actId="478"/>
          <ac:picMkLst>
            <pc:docMk/>
            <pc:sldMk cId="2445939266" sldId="270"/>
            <ac:picMk id="30" creationId="{77B9CF15-92E3-25FE-0387-135B63969302}"/>
          </ac:picMkLst>
        </pc:picChg>
        <pc:picChg chg="add del mod">
          <ac:chgData name="Liang Yang" userId="7a7c13a3-d26c-494d-9577-22c5c3f8a804" providerId="ADAL" clId="{F9BD9BDC-E3A3-481D-AB34-D332F61F93E2}" dt="2024-05-13T16:16:23.470" v="3335" actId="478"/>
          <ac:picMkLst>
            <pc:docMk/>
            <pc:sldMk cId="2445939266" sldId="270"/>
            <ac:picMk id="32" creationId="{2AA45566-0560-161D-9175-932ADEB69130}"/>
          </ac:picMkLst>
        </pc:picChg>
        <pc:picChg chg="add mod">
          <ac:chgData name="Liang Yang" userId="7a7c13a3-d26c-494d-9577-22c5c3f8a804" providerId="ADAL" clId="{F9BD9BDC-E3A3-481D-AB34-D332F61F93E2}" dt="2024-05-13T16:52:35.377" v="4420" actId="1076"/>
          <ac:picMkLst>
            <pc:docMk/>
            <pc:sldMk cId="2445939266" sldId="270"/>
            <ac:picMk id="40" creationId="{E75B77EC-1671-D79E-17B8-B97F1CFDE010}"/>
          </ac:picMkLst>
        </pc:picChg>
        <pc:picChg chg="del">
          <ac:chgData name="Liang Yang" userId="7a7c13a3-d26c-494d-9577-22c5c3f8a804" providerId="ADAL" clId="{F9BD9BDC-E3A3-481D-AB34-D332F61F93E2}" dt="2024-05-13T16:00:10.728" v="3260" actId="478"/>
          <ac:picMkLst>
            <pc:docMk/>
            <pc:sldMk cId="2445939266" sldId="270"/>
            <ac:picMk id="45" creationId="{4505C6D1-3C65-C068-2218-17A0CC896C66}"/>
          </ac:picMkLst>
        </pc:picChg>
        <pc:picChg chg="del">
          <ac:chgData name="Liang Yang" userId="7a7c13a3-d26c-494d-9577-22c5c3f8a804" providerId="ADAL" clId="{F9BD9BDC-E3A3-481D-AB34-D332F61F93E2}" dt="2024-05-13T15:50:45.150" v="2527" actId="478"/>
          <ac:picMkLst>
            <pc:docMk/>
            <pc:sldMk cId="2445939266" sldId="270"/>
            <ac:picMk id="1026" creationId="{E53B59E2-197D-8D1F-A46E-359EE3450282}"/>
          </ac:picMkLst>
        </pc:picChg>
        <pc:picChg chg="del">
          <ac:chgData name="Liang Yang" userId="7a7c13a3-d26c-494d-9577-22c5c3f8a804" providerId="ADAL" clId="{F9BD9BDC-E3A3-481D-AB34-D332F61F93E2}" dt="2024-05-13T16:01:54.977" v="3263" actId="478"/>
          <ac:picMkLst>
            <pc:docMk/>
            <pc:sldMk cId="2445939266" sldId="270"/>
            <ac:picMk id="1030" creationId="{9AAECD12-45B2-EC5B-5F8B-3B0F79BECF51}"/>
          </ac:picMkLst>
        </pc:picChg>
        <pc:cxnChg chg="add mod">
          <ac:chgData name="Liang Yang" userId="7a7c13a3-d26c-494d-9577-22c5c3f8a804" providerId="ADAL" clId="{F9BD9BDC-E3A3-481D-AB34-D332F61F93E2}" dt="2024-05-13T17:07:14.940" v="5006" actId="14100"/>
          <ac:cxnSpMkLst>
            <pc:docMk/>
            <pc:sldMk cId="2445939266" sldId="270"/>
            <ac:cxnSpMk id="23" creationId="{21C0FF06-C965-4668-C689-112F4ABBEE9C}"/>
          </ac:cxnSpMkLst>
        </pc:cxnChg>
        <pc:cxnChg chg="add del mod">
          <ac:chgData name="Liang Yang" userId="7a7c13a3-d26c-494d-9577-22c5c3f8a804" providerId="ADAL" clId="{F9BD9BDC-E3A3-481D-AB34-D332F61F93E2}" dt="2024-05-13T16:15:54.727" v="3327" actId="478"/>
          <ac:cxnSpMkLst>
            <pc:docMk/>
            <pc:sldMk cId="2445939266" sldId="270"/>
            <ac:cxnSpMk id="33" creationId="{D4ED9CF5-971A-B00F-BED7-56B485C39BC8}"/>
          </ac:cxnSpMkLst>
        </pc:cxnChg>
        <pc:cxnChg chg="add mod">
          <ac:chgData name="Liang Yang" userId="7a7c13a3-d26c-494d-9577-22c5c3f8a804" providerId="ADAL" clId="{F9BD9BDC-E3A3-481D-AB34-D332F61F93E2}" dt="2024-05-13T17:07:09.372" v="5005" actId="14100"/>
          <ac:cxnSpMkLst>
            <pc:docMk/>
            <pc:sldMk cId="2445939266" sldId="270"/>
            <ac:cxnSpMk id="36" creationId="{427B59A1-6516-31AF-5E73-05AD89F2A588}"/>
          </ac:cxnSpMkLst>
        </pc:cxnChg>
        <pc:cxnChg chg="add mod">
          <ac:chgData name="Liang Yang" userId="7a7c13a3-d26c-494d-9577-22c5c3f8a804" providerId="ADAL" clId="{F9BD9BDC-E3A3-481D-AB34-D332F61F93E2}" dt="2024-05-13T17:05:40.867" v="4986" actId="14100"/>
          <ac:cxnSpMkLst>
            <pc:docMk/>
            <pc:sldMk cId="2445939266" sldId="270"/>
            <ac:cxnSpMk id="37" creationId="{A25FC2F7-7243-75BF-0B34-09C573FBBC83}"/>
          </ac:cxnSpMkLst>
        </pc:cxnChg>
        <pc:cxnChg chg="add del mod">
          <ac:chgData name="Liang Yang" userId="7a7c13a3-d26c-494d-9577-22c5c3f8a804" providerId="ADAL" clId="{F9BD9BDC-E3A3-481D-AB34-D332F61F93E2}" dt="2024-05-13T16:58:04.638" v="4494" actId="478"/>
          <ac:cxnSpMkLst>
            <pc:docMk/>
            <pc:sldMk cId="2445939266" sldId="270"/>
            <ac:cxnSpMk id="50" creationId="{7C18C781-8E28-704F-BF2C-373A88707664}"/>
          </ac:cxnSpMkLst>
        </pc:cxnChg>
        <pc:cxnChg chg="add del mod">
          <ac:chgData name="Liang Yang" userId="7a7c13a3-d26c-494d-9577-22c5c3f8a804" providerId="ADAL" clId="{F9BD9BDC-E3A3-481D-AB34-D332F61F93E2}" dt="2024-05-13T16:58:04.638" v="4494" actId="478"/>
          <ac:cxnSpMkLst>
            <pc:docMk/>
            <pc:sldMk cId="2445939266" sldId="270"/>
            <ac:cxnSpMk id="51" creationId="{2AC59E9D-13BD-2080-06A7-DD952C1DDBE5}"/>
          </ac:cxnSpMkLst>
        </pc:cxnChg>
        <pc:cxnChg chg="del">
          <ac:chgData name="Liang Yang" userId="7a7c13a3-d26c-494d-9577-22c5c3f8a804" providerId="ADAL" clId="{F9BD9BDC-E3A3-481D-AB34-D332F61F93E2}" dt="2024-05-13T15:50:48.389" v="2528" actId="478"/>
          <ac:cxnSpMkLst>
            <pc:docMk/>
            <pc:sldMk cId="2445939266" sldId="270"/>
            <ac:cxnSpMk id="55" creationId="{605875F3-EEBE-C9CF-6D68-F353F4E8B4B2}"/>
          </ac:cxnSpMkLst>
        </pc:cxnChg>
        <pc:cxnChg chg="del">
          <ac:chgData name="Liang Yang" userId="7a7c13a3-d26c-494d-9577-22c5c3f8a804" providerId="ADAL" clId="{F9BD9BDC-E3A3-481D-AB34-D332F61F93E2}" dt="2024-05-13T15:50:48.389" v="2528" actId="478"/>
          <ac:cxnSpMkLst>
            <pc:docMk/>
            <pc:sldMk cId="2445939266" sldId="270"/>
            <ac:cxnSpMk id="57" creationId="{CC7FC0B2-0BAE-469A-499B-950E29495BF7}"/>
          </ac:cxnSpMkLst>
        </pc:cxnChg>
        <pc:cxnChg chg="add del mod">
          <ac:chgData name="Liang Yang" userId="7a7c13a3-d26c-494d-9577-22c5c3f8a804" providerId="ADAL" clId="{F9BD9BDC-E3A3-481D-AB34-D332F61F93E2}" dt="2024-05-13T16:58:04.638" v="4494" actId="478"/>
          <ac:cxnSpMkLst>
            <pc:docMk/>
            <pc:sldMk cId="2445939266" sldId="270"/>
            <ac:cxnSpMk id="58" creationId="{081B3986-D5A1-6322-4289-A6D1A696A1DF}"/>
          </ac:cxnSpMkLst>
        </pc:cxnChg>
        <pc:cxnChg chg="add del mod">
          <ac:chgData name="Liang Yang" userId="7a7c13a3-d26c-494d-9577-22c5c3f8a804" providerId="ADAL" clId="{F9BD9BDC-E3A3-481D-AB34-D332F61F93E2}" dt="2024-05-13T16:58:04.638" v="4494" actId="478"/>
          <ac:cxnSpMkLst>
            <pc:docMk/>
            <pc:sldMk cId="2445939266" sldId="270"/>
            <ac:cxnSpMk id="1029" creationId="{0F0E607A-C890-EBC5-5828-C99BD170729E}"/>
          </ac:cxnSpMkLst>
        </pc:cxnChg>
        <pc:cxnChg chg="add del mod">
          <ac:chgData name="Liang Yang" userId="7a7c13a3-d26c-494d-9577-22c5c3f8a804" providerId="ADAL" clId="{F9BD9BDC-E3A3-481D-AB34-D332F61F93E2}" dt="2024-05-13T16:58:04.638" v="4494" actId="478"/>
          <ac:cxnSpMkLst>
            <pc:docMk/>
            <pc:sldMk cId="2445939266" sldId="270"/>
            <ac:cxnSpMk id="1033" creationId="{4C694ED3-E097-6DE2-FA49-AA38BA2B1FD1}"/>
          </ac:cxnSpMkLst>
        </pc:cxnChg>
      </pc:sldChg>
      <pc:sldChg chg="addSp delSp modSp add mod">
        <pc:chgData name="Liang Yang" userId="7a7c13a3-d26c-494d-9577-22c5c3f8a804" providerId="ADAL" clId="{F9BD9BDC-E3A3-481D-AB34-D332F61F93E2}" dt="2024-05-13T20:19:48.833" v="9285"/>
        <pc:sldMkLst>
          <pc:docMk/>
          <pc:sldMk cId="1597081" sldId="271"/>
        </pc:sldMkLst>
        <pc:spChg chg="mod">
          <ac:chgData name="Liang Yang" userId="7a7c13a3-d26c-494d-9577-22c5c3f8a804" providerId="ADAL" clId="{F9BD9BDC-E3A3-481D-AB34-D332F61F93E2}" dt="2024-05-13T20:19:48.792" v="9251" actId="948"/>
          <ac:spMkLst>
            <pc:docMk/>
            <pc:sldMk cId="1597081" sldId="271"/>
            <ac:spMk id="2" creationId="{CBADF92F-4066-F747-AAEF-597A8340E927}"/>
          </ac:spMkLst>
        </pc:spChg>
        <pc:spChg chg="add del mod modVis">
          <ac:chgData name="Liang Yang" userId="7a7c13a3-d26c-494d-9577-22c5c3f8a804" providerId="ADAL" clId="{F9BD9BDC-E3A3-481D-AB34-D332F61F93E2}" dt="2024-05-13T17:14:20.629" v="6061"/>
          <ac:spMkLst>
            <pc:docMk/>
            <pc:sldMk cId="1597081" sldId="271"/>
            <ac:spMk id="3" creationId="{ED0E274C-744C-BB99-518E-129B897ADFC2}"/>
          </ac:spMkLst>
        </pc:spChg>
        <pc:spChg chg="add del mod modVis">
          <ac:chgData name="Liang Yang" userId="7a7c13a3-d26c-494d-9577-22c5c3f8a804" providerId="ADAL" clId="{F9BD9BDC-E3A3-481D-AB34-D332F61F93E2}" dt="2024-05-13T17:14:32.234" v="6117"/>
          <ac:spMkLst>
            <pc:docMk/>
            <pc:sldMk cId="1597081" sldId="271"/>
            <ac:spMk id="5" creationId="{DC59254C-C4A2-0695-09F1-C570F085C080}"/>
          </ac:spMkLst>
        </pc:spChg>
        <pc:spChg chg="add del mod modVis">
          <ac:chgData name="Liang Yang" userId="7a7c13a3-d26c-494d-9577-22c5c3f8a804" providerId="ADAL" clId="{F9BD9BDC-E3A3-481D-AB34-D332F61F93E2}" dt="2024-05-13T17:14:33.847" v="6145"/>
          <ac:spMkLst>
            <pc:docMk/>
            <pc:sldMk cId="1597081" sldId="271"/>
            <ac:spMk id="6" creationId="{B4C1B35A-F821-E403-3B75-7C9D74298546}"/>
          </ac:spMkLst>
        </pc:spChg>
        <pc:spChg chg="add del mod modVis">
          <ac:chgData name="Liang Yang" userId="7a7c13a3-d26c-494d-9577-22c5c3f8a804" providerId="ADAL" clId="{F9BD9BDC-E3A3-481D-AB34-D332F61F93E2}" dt="2024-05-13T17:14:37.682" v="6174"/>
          <ac:spMkLst>
            <pc:docMk/>
            <pc:sldMk cId="1597081" sldId="271"/>
            <ac:spMk id="7" creationId="{E43B01A1-7AF6-5D14-9036-3F3645C68393}"/>
          </ac:spMkLst>
        </pc:spChg>
        <pc:spChg chg="add del mod modVis">
          <ac:chgData name="Liang Yang" userId="7a7c13a3-d26c-494d-9577-22c5c3f8a804" providerId="ADAL" clId="{F9BD9BDC-E3A3-481D-AB34-D332F61F93E2}" dt="2024-05-13T17:14:39.182" v="6205"/>
          <ac:spMkLst>
            <pc:docMk/>
            <pc:sldMk cId="1597081" sldId="271"/>
            <ac:spMk id="8" creationId="{17707C06-0137-F0B1-364A-9F85BE57F21D}"/>
          </ac:spMkLst>
        </pc:spChg>
        <pc:spChg chg="add del mod modVis">
          <ac:chgData name="Liang Yang" userId="7a7c13a3-d26c-494d-9577-22c5c3f8a804" providerId="ADAL" clId="{F9BD9BDC-E3A3-481D-AB34-D332F61F93E2}" dt="2024-05-13T17:14:41.878" v="6240"/>
          <ac:spMkLst>
            <pc:docMk/>
            <pc:sldMk cId="1597081" sldId="271"/>
            <ac:spMk id="9" creationId="{BE4C1556-2BD3-31CA-78A1-7E6C05FCC786}"/>
          </ac:spMkLst>
        </pc:spChg>
        <pc:spChg chg="add del mod modVis">
          <ac:chgData name="Liang Yang" userId="7a7c13a3-d26c-494d-9577-22c5c3f8a804" providerId="ADAL" clId="{F9BD9BDC-E3A3-481D-AB34-D332F61F93E2}" dt="2024-05-13T17:14:44.315" v="6279"/>
          <ac:spMkLst>
            <pc:docMk/>
            <pc:sldMk cId="1597081" sldId="271"/>
            <ac:spMk id="10" creationId="{E761B50A-624C-DA4D-BB44-4417651655B1}"/>
          </ac:spMkLst>
        </pc:spChg>
        <pc:spChg chg="add del mod modVis">
          <ac:chgData name="Liang Yang" userId="7a7c13a3-d26c-494d-9577-22c5c3f8a804" providerId="ADAL" clId="{F9BD9BDC-E3A3-481D-AB34-D332F61F93E2}" dt="2024-05-13T17:14:46.154" v="6317"/>
          <ac:spMkLst>
            <pc:docMk/>
            <pc:sldMk cId="1597081" sldId="271"/>
            <ac:spMk id="11" creationId="{A57C8E3E-6487-B123-C493-5C53C38B22AE}"/>
          </ac:spMkLst>
        </pc:spChg>
        <pc:spChg chg="add del mod modVis">
          <ac:chgData name="Liang Yang" userId="7a7c13a3-d26c-494d-9577-22c5c3f8a804" providerId="ADAL" clId="{F9BD9BDC-E3A3-481D-AB34-D332F61F93E2}" dt="2024-05-13T17:14:51.676" v="6353"/>
          <ac:spMkLst>
            <pc:docMk/>
            <pc:sldMk cId="1597081" sldId="271"/>
            <ac:spMk id="12" creationId="{D0294310-1633-38D4-0942-EB83CFBD23F7}"/>
          </ac:spMkLst>
        </pc:spChg>
        <pc:spChg chg="add del mod modVis">
          <ac:chgData name="Liang Yang" userId="7a7c13a3-d26c-494d-9577-22c5c3f8a804" providerId="ADAL" clId="{F9BD9BDC-E3A3-481D-AB34-D332F61F93E2}" dt="2024-05-13T17:14:55.814" v="6387"/>
          <ac:spMkLst>
            <pc:docMk/>
            <pc:sldMk cId="1597081" sldId="271"/>
            <ac:spMk id="13" creationId="{898EE1B0-7CE2-8754-53C9-6C2FF2DE645C}"/>
          </ac:spMkLst>
        </pc:spChg>
        <pc:spChg chg="add del mod modVis">
          <ac:chgData name="Liang Yang" userId="7a7c13a3-d26c-494d-9577-22c5c3f8a804" providerId="ADAL" clId="{F9BD9BDC-E3A3-481D-AB34-D332F61F93E2}" dt="2024-05-13T17:14:57.609" v="6415"/>
          <ac:spMkLst>
            <pc:docMk/>
            <pc:sldMk cId="1597081" sldId="271"/>
            <ac:spMk id="14" creationId="{92F07BFA-9549-BEF9-EAE0-7452C82CA60B}"/>
          </ac:spMkLst>
        </pc:spChg>
        <pc:spChg chg="add del mod modVis">
          <ac:chgData name="Liang Yang" userId="7a7c13a3-d26c-494d-9577-22c5c3f8a804" providerId="ADAL" clId="{F9BD9BDC-E3A3-481D-AB34-D332F61F93E2}" dt="2024-05-13T17:14:59.630" v="6447"/>
          <ac:spMkLst>
            <pc:docMk/>
            <pc:sldMk cId="1597081" sldId="271"/>
            <ac:spMk id="15" creationId="{F2BBA4F9-6701-CE9C-A74F-ECA905398574}"/>
          </ac:spMkLst>
        </pc:spChg>
        <pc:spChg chg="add del mod modVis">
          <ac:chgData name="Liang Yang" userId="7a7c13a3-d26c-494d-9577-22c5c3f8a804" providerId="ADAL" clId="{F9BD9BDC-E3A3-481D-AB34-D332F61F93E2}" dt="2024-05-13T17:15:03.216" v="6488"/>
          <ac:spMkLst>
            <pc:docMk/>
            <pc:sldMk cId="1597081" sldId="271"/>
            <ac:spMk id="16" creationId="{57F4BD64-16D3-FBF7-6F49-ACA8818719A7}"/>
          </ac:spMkLst>
        </pc:spChg>
        <pc:spChg chg="add del mod modVis">
          <ac:chgData name="Liang Yang" userId="7a7c13a3-d26c-494d-9577-22c5c3f8a804" providerId="ADAL" clId="{F9BD9BDC-E3A3-481D-AB34-D332F61F93E2}" dt="2024-05-13T17:15:04.162" v="6518"/>
          <ac:spMkLst>
            <pc:docMk/>
            <pc:sldMk cId="1597081" sldId="271"/>
            <ac:spMk id="17" creationId="{DB85F7B8-1E9F-1B07-1D65-D9700169AC3D}"/>
          </ac:spMkLst>
        </pc:spChg>
        <pc:spChg chg="add del mod modVis">
          <ac:chgData name="Liang Yang" userId="7a7c13a3-d26c-494d-9577-22c5c3f8a804" providerId="ADAL" clId="{F9BD9BDC-E3A3-481D-AB34-D332F61F93E2}" dt="2024-05-13T17:15:05.684" v="6549"/>
          <ac:spMkLst>
            <pc:docMk/>
            <pc:sldMk cId="1597081" sldId="271"/>
            <ac:spMk id="18" creationId="{A0D7EEB1-A216-EC96-4A9F-9DD8543A7F21}"/>
          </ac:spMkLst>
        </pc:spChg>
        <pc:spChg chg="add del mod modVis">
          <ac:chgData name="Liang Yang" userId="7a7c13a3-d26c-494d-9577-22c5c3f8a804" providerId="ADAL" clId="{F9BD9BDC-E3A3-481D-AB34-D332F61F93E2}" dt="2024-05-13T17:15:09.877" v="6596"/>
          <ac:spMkLst>
            <pc:docMk/>
            <pc:sldMk cId="1597081" sldId="271"/>
            <ac:spMk id="19" creationId="{7B4908EF-AF01-AF8B-B76E-038573FB0F78}"/>
          </ac:spMkLst>
        </pc:spChg>
        <pc:spChg chg="add del mod modVis">
          <ac:chgData name="Liang Yang" userId="7a7c13a3-d26c-494d-9577-22c5c3f8a804" providerId="ADAL" clId="{F9BD9BDC-E3A3-481D-AB34-D332F61F93E2}" dt="2024-05-13T17:15:12.419" v="6637"/>
          <ac:spMkLst>
            <pc:docMk/>
            <pc:sldMk cId="1597081" sldId="271"/>
            <ac:spMk id="20" creationId="{55EC5A77-531F-1466-D52F-6F5910C25C78}"/>
          </ac:spMkLst>
        </pc:spChg>
        <pc:spChg chg="add del mod modVis">
          <ac:chgData name="Liang Yang" userId="7a7c13a3-d26c-494d-9577-22c5c3f8a804" providerId="ADAL" clId="{F9BD9BDC-E3A3-481D-AB34-D332F61F93E2}" dt="2024-05-13T17:15:13.920" v="6671"/>
          <ac:spMkLst>
            <pc:docMk/>
            <pc:sldMk cId="1597081" sldId="271"/>
            <ac:spMk id="21" creationId="{B7F38FBB-95FD-C240-CB3B-10CFDF959F2F}"/>
          </ac:spMkLst>
        </pc:spChg>
        <pc:spChg chg="add del mod modVis">
          <ac:chgData name="Liang Yang" userId="7a7c13a3-d26c-494d-9577-22c5c3f8a804" providerId="ADAL" clId="{F9BD9BDC-E3A3-481D-AB34-D332F61F93E2}" dt="2024-05-13T17:15:15.823" v="6707"/>
          <ac:spMkLst>
            <pc:docMk/>
            <pc:sldMk cId="1597081" sldId="271"/>
            <ac:spMk id="22" creationId="{BF8A8D2D-C9E1-C611-EB6D-9DF38CEF11A7}"/>
          </ac:spMkLst>
        </pc:spChg>
        <pc:spChg chg="add del mod modVis">
          <ac:chgData name="Liang Yang" userId="7a7c13a3-d26c-494d-9577-22c5c3f8a804" providerId="ADAL" clId="{F9BD9BDC-E3A3-481D-AB34-D332F61F93E2}" dt="2024-05-13T17:15:16.806" v="6735"/>
          <ac:spMkLst>
            <pc:docMk/>
            <pc:sldMk cId="1597081" sldId="271"/>
            <ac:spMk id="23" creationId="{BFC6DCA2-424A-8C60-0D84-0A66043C8D6A}"/>
          </ac:spMkLst>
        </pc:spChg>
        <pc:spChg chg="add del mod modVis">
          <ac:chgData name="Liang Yang" userId="7a7c13a3-d26c-494d-9577-22c5c3f8a804" providerId="ADAL" clId="{F9BD9BDC-E3A3-481D-AB34-D332F61F93E2}" dt="2024-05-13T17:15:27.790" v="6763"/>
          <ac:spMkLst>
            <pc:docMk/>
            <pc:sldMk cId="1597081" sldId="271"/>
            <ac:spMk id="24" creationId="{64A9DCE1-0EF7-4C78-B5EC-B67DFC796114}"/>
          </ac:spMkLst>
        </pc:spChg>
        <pc:spChg chg="add del mod modVis">
          <ac:chgData name="Liang Yang" userId="7a7c13a3-d26c-494d-9577-22c5c3f8a804" providerId="ADAL" clId="{F9BD9BDC-E3A3-481D-AB34-D332F61F93E2}" dt="2024-05-13T17:15:31.113" v="6792"/>
          <ac:spMkLst>
            <pc:docMk/>
            <pc:sldMk cId="1597081" sldId="271"/>
            <ac:spMk id="25" creationId="{F1DAB314-F5BE-5D5B-C375-2D054F712C57}"/>
          </ac:spMkLst>
        </pc:spChg>
        <pc:spChg chg="add del mod modVis">
          <ac:chgData name="Liang Yang" userId="7a7c13a3-d26c-494d-9577-22c5c3f8a804" providerId="ADAL" clId="{F9BD9BDC-E3A3-481D-AB34-D332F61F93E2}" dt="2024-05-13T17:15:35.636" v="6822"/>
          <ac:spMkLst>
            <pc:docMk/>
            <pc:sldMk cId="1597081" sldId="271"/>
            <ac:spMk id="26" creationId="{6FFB4A4B-47AD-90CF-4FE0-15FEEF58AE98}"/>
          </ac:spMkLst>
        </pc:spChg>
        <pc:spChg chg="add del mod modVis">
          <ac:chgData name="Liang Yang" userId="7a7c13a3-d26c-494d-9577-22c5c3f8a804" providerId="ADAL" clId="{F9BD9BDC-E3A3-481D-AB34-D332F61F93E2}" dt="2024-05-13T17:15:39.645" v="6853"/>
          <ac:spMkLst>
            <pc:docMk/>
            <pc:sldMk cId="1597081" sldId="271"/>
            <ac:spMk id="27" creationId="{2049F62E-FC66-BD5A-422B-6BA65235960F}"/>
          </ac:spMkLst>
        </pc:spChg>
        <pc:spChg chg="add del mod modVis">
          <ac:chgData name="Liang Yang" userId="7a7c13a3-d26c-494d-9577-22c5c3f8a804" providerId="ADAL" clId="{F9BD9BDC-E3A3-481D-AB34-D332F61F93E2}" dt="2024-05-13T17:55:59.826" v="6890"/>
          <ac:spMkLst>
            <pc:docMk/>
            <pc:sldMk cId="1597081" sldId="271"/>
            <ac:spMk id="28" creationId="{C85A86FF-E05C-37D2-9027-E281E9AE0B4B}"/>
          </ac:spMkLst>
        </pc:spChg>
        <pc:spChg chg="add del mod modVis">
          <ac:chgData name="Liang Yang" userId="7a7c13a3-d26c-494d-9577-22c5c3f8a804" providerId="ADAL" clId="{F9BD9BDC-E3A3-481D-AB34-D332F61F93E2}" dt="2024-05-13T17:56:00.837" v="6918"/>
          <ac:spMkLst>
            <pc:docMk/>
            <pc:sldMk cId="1597081" sldId="271"/>
            <ac:spMk id="29" creationId="{80FC4EA4-91E6-4CEF-22E5-6D4DD4C4E110}"/>
          </ac:spMkLst>
        </pc:spChg>
        <pc:spChg chg="add del mod modVis">
          <ac:chgData name="Liang Yang" userId="7a7c13a3-d26c-494d-9577-22c5c3f8a804" providerId="ADAL" clId="{F9BD9BDC-E3A3-481D-AB34-D332F61F93E2}" dt="2024-05-13T17:56:03.719" v="6948"/>
          <ac:spMkLst>
            <pc:docMk/>
            <pc:sldMk cId="1597081" sldId="271"/>
            <ac:spMk id="30" creationId="{E57D39EE-6A2C-3CE3-7089-DEF9E53BF6A6}"/>
          </ac:spMkLst>
        </pc:spChg>
        <pc:spChg chg="add del mod modVis">
          <ac:chgData name="Liang Yang" userId="7a7c13a3-d26c-494d-9577-22c5c3f8a804" providerId="ADAL" clId="{F9BD9BDC-E3A3-481D-AB34-D332F61F93E2}" dt="2024-05-13T17:56:05.017" v="6980"/>
          <ac:spMkLst>
            <pc:docMk/>
            <pc:sldMk cId="1597081" sldId="271"/>
            <ac:spMk id="31" creationId="{BA442C3A-1BCE-6657-401C-EA09A61E358B}"/>
          </ac:spMkLst>
        </pc:spChg>
        <pc:spChg chg="add del mod modVis">
          <ac:chgData name="Liang Yang" userId="7a7c13a3-d26c-494d-9577-22c5c3f8a804" providerId="ADAL" clId="{F9BD9BDC-E3A3-481D-AB34-D332F61F93E2}" dt="2024-05-13T17:56:06.075" v="7008"/>
          <ac:spMkLst>
            <pc:docMk/>
            <pc:sldMk cId="1597081" sldId="271"/>
            <ac:spMk id="32" creationId="{D47EE165-4DE7-6E0F-4E05-1BF6C7E22BE6}"/>
          </ac:spMkLst>
        </pc:spChg>
        <pc:spChg chg="add mod">
          <ac:chgData name="Liang Yang" userId="7a7c13a3-d26c-494d-9577-22c5c3f8a804" providerId="ADAL" clId="{F9BD9BDC-E3A3-481D-AB34-D332F61F93E2}" dt="2024-05-13T19:50:47.960" v="8031" actId="20577"/>
          <ac:spMkLst>
            <pc:docMk/>
            <pc:sldMk cId="1597081" sldId="271"/>
            <ac:spMk id="33" creationId="{2C3AD30F-CD20-74DF-528D-3403D575DC16}"/>
          </ac:spMkLst>
        </pc:spChg>
        <pc:spChg chg="add mod">
          <ac:chgData name="Liang Yang" userId="7a7c13a3-d26c-494d-9577-22c5c3f8a804" providerId="ADAL" clId="{F9BD9BDC-E3A3-481D-AB34-D332F61F93E2}" dt="2024-05-13T19:51:06.984" v="8072" actId="20577"/>
          <ac:spMkLst>
            <pc:docMk/>
            <pc:sldMk cId="1597081" sldId="271"/>
            <ac:spMk id="37" creationId="{08EB628E-A814-EE65-43B2-D4C8A5D8385E}"/>
          </ac:spMkLst>
        </pc:spChg>
        <pc:spChg chg="add mod">
          <ac:chgData name="Liang Yang" userId="7a7c13a3-d26c-494d-9577-22c5c3f8a804" providerId="ADAL" clId="{F9BD9BDC-E3A3-481D-AB34-D332F61F93E2}" dt="2024-05-13T20:14:44.363" v="8919" actId="1035"/>
          <ac:spMkLst>
            <pc:docMk/>
            <pc:sldMk cId="1597081" sldId="271"/>
            <ac:spMk id="40" creationId="{3D2FC65D-DD6A-928A-C26C-28BB1323C362}"/>
          </ac:spMkLst>
        </pc:spChg>
        <pc:spChg chg="add mod">
          <ac:chgData name="Liang Yang" userId="7a7c13a3-d26c-494d-9577-22c5c3f8a804" providerId="ADAL" clId="{F9BD9BDC-E3A3-481D-AB34-D332F61F93E2}" dt="2024-05-13T20:01:29.445" v="8090" actId="1037"/>
          <ac:spMkLst>
            <pc:docMk/>
            <pc:sldMk cId="1597081" sldId="271"/>
            <ac:spMk id="41" creationId="{08ADEC97-8FF4-8F6F-399A-CC7B4CE15BAC}"/>
          </ac:spMkLst>
        </pc:spChg>
        <pc:spChg chg="add del mod">
          <ac:chgData name="Liang Yang" userId="7a7c13a3-d26c-494d-9577-22c5c3f8a804" providerId="ADAL" clId="{F9BD9BDC-E3A3-481D-AB34-D332F61F93E2}" dt="2024-05-13T20:15:12.916" v="8922" actId="478"/>
          <ac:spMkLst>
            <pc:docMk/>
            <pc:sldMk cId="1597081" sldId="271"/>
            <ac:spMk id="42" creationId="{94D6CA54-CB2F-607A-120C-3FB97877BA39}"/>
          </ac:spMkLst>
        </pc:spChg>
        <pc:spChg chg="add mod">
          <ac:chgData name="Liang Yang" userId="7a7c13a3-d26c-494d-9577-22c5c3f8a804" providerId="ADAL" clId="{F9BD9BDC-E3A3-481D-AB34-D332F61F93E2}" dt="2024-05-13T20:17:34.888" v="9048" actId="207"/>
          <ac:spMkLst>
            <pc:docMk/>
            <pc:sldMk cId="1597081" sldId="271"/>
            <ac:spMk id="43" creationId="{B7F0E4DF-9079-F1CB-2598-C772A8C3BDB4}"/>
          </ac:spMkLst>
        </pc:spChg>
        <pc:spChg chg="add del mod modVis">
          <ac:chgData name="Liang Yang" userId="7a7c13a3-d26c-494d-9577-22c5c3f8a804" providerId="ADAL" clId="{F9BD9BDC-E3A3-481D-AB34-D332F61F93E2}" dt="2024-05-13T20:19:34.920" v="9088"/>
          <ac:spMkLst>
            <pc:docMk/>
            <pc:sldMk cId="1597081" sldId="271"/>
            <ac:spMk id="44" creationId="{9013AEEA-4895-09FB-24A2-1013730C80CA}"/>
          </ac:spMkLst>
        </pc:spChg>
        <pc:spChg chg="add del mod modVis">
          <ac:chgData name="Liang Yang" userId="7a7c13a3-d26c-494d-9577-22c5c3f8a804" providerId="ADAL" clId="{F9BD9BDC-E3A3-481D-AB34-D332F61F93E2}" dt="2024-05-13T20:19:36.036" v="9128"/>
          <ac:spMkLst>
            <pc:docMk/>
            <pc:sldMk cId="1597081" sldId="271"/>
            <ac:spMk id="46" creationId="{4CD470C8-437C-948F-B34F-B03B0DDD5421}"/>
          </ac:spMkLst>
        </pc:spChg>
        <pc:spChg chg="add del mod modVis">
          <ac:chgData name="Liang Yang" userId="7a7c13a3-d26c-494d-9577-22c5c3f8a804" providerId="ADAL" clId="{F9BD9BDC-E3A3-481D-AB34-D332F61F93E2}" dt="2024-05-13T20:19:38.040" v="9171"/>
          <ac:spMkLst>
            <pc:docMk/>
            <pc:sldMk cId="1597081" sldId="271"/>
            <ac:spMk id="47" creationId="{C047F90E-99A1-6C46-EC1D-7E2EC6844589}"/>
          </ac:spMkLst>
        </pc:spChg>
        <pc:spChg chg="add del mod modVis">
          <ac:chgData name="Liang Yang" userId="7a7c13a3-d26c-494d-9577-22c5c3f8a804" providerId="ADAL" clId="{F9BD9BDC-E3A3-481D-AB34-D332F61F93E2}" dt="2024-05-13T20:19:39.045" v="9208"/>
          <ac:spMkLst>
            <pc:docMk/>
            <pc:sldMk cId="1597081" sldId="271"/>
            <ac:spMk id="48" creationId="{07539E1C-F535-B1F6-1A79-EC05A39E451B}"/>
          </ac:spMkLst>
        </pc:spChg>
        <pc:spChg chg="add del mod modVis">
          <ac:chgData name="Liang Yang" userId="7a7c13a3-d26c-494d-9577-22c5c3f8a804" providerId="ADAL" clId="{F9BD9BDC-E3A3-481D-AB34-D332F61F93E2}" dt="2024-05-13T20:19:47.550" v="9246"/>
          <ac:spMkLst>
            <pc:docMk/>
            <pc:sldMk cId="1597081" sldId="271"/>
            <ac:spMk id="49" creationId="{62387840-3EE9-615A-190F-92698722939F}"/>
          </ac:spMkLst>
        </pc:spChg>
        <pc:spChg chg="add del mod modVis">
          <ac:chgData name="Liang Yang" userId="7a7c13a3-d26c-494d-9577-22c5c3f8a804" providerId="ADAL" clId="{F9BD9BDC-E3A3-481D-AB34-D332F61F93E2}" dt="2024-05-13T20:19:48.828" v="9283"/>
          <ac:spMkLst>
            <pc:docMk/>
            <pc:sldMk cId="1597081" sldId="271"/>
            <ac:spMk id="50" creationId="{03976AAA-A309-C163-3D4E-D842190A1F87}"/>
          </ac:spMkLst>
        </pc:spChg>
        <pc:spChg chg="del">
          <ac:chgData name="Liang Yang" userId="7a7c13a3-d26c-494d-9577-22c5c3f8a804" providerId="ADAL" clId="{F9BD9BDC-E3A3-481D-AB34-D332F61F93E2}" dt="2024-05-13T19:48:36.954" v="7968" actId="478"/>
          <ac:spMkLst>
            <pc:docMk/>
            <pc:sldMk cId="1597081" sldId="271"/>
            <ac:spMk id="52" creationId="{FA236359-00C2-3CE5-14B6-779BAD9F71DC}"/>
          </ac:spMkLst>
        </pc:spChg>
        <pc:spChg chg="del">
          <ac:chgData name="Liang Yang" userId="7a7c13a3-d26c-494d-9577-22c5c3f8a804" providerId="ADAL" clId="{F9BD9BDC-E3A3-481D-AB34-D332F61F93E2}" dt="2024-05-13T19:47:01.019" v="7965" actId="478"/>
          <ac:spMkLst>
            <pc:docMk/>
            <pc:sldMk cId="1597081" sldId="271"/>
            <ac:spMk id="53" creationId="{731B1CC3-1827-99A6-BC57-A114DBFCE863}"/>
          </ac:spMkLst>
        </pc:spChg>
        <pc:graphicFrameChg chg="mod">
          <ac:chgData name="Liang Yang" userId="7a7c13a3-d26c-494d-9577-22c5c3f8a804" providerId="ADAL" clId="{F9BD9BDC-E3A3-481D-AB34-D332F61F93E2}" dt="2024-05-13T20:19:48.833" v="9285"/>
          <ac:graphicFrameMkLst>
            <pc:docMk/>
            <pc:sldMk cId="1597081" sldId="271"/>
            <ac:graphicFrameMk id="4" creationId="{B0DF492E-9842-C18F-58FA-A416AC8482E4}"/>
          </ac:graphicFrameMkLst>
        </pc:graphicFrameChg>
        <pc:picChg chg="del">
          <ac:chgData name="Liang Yang" userId="7a7c13a3-d26c-494d-9577-22c5c3f8a804" providerId="ADAL" clId="{F9BD9BDC-E3A3-481D-AB34-D332F61F93E2}" dt="2024-05-13T19:47:01.019" v="7965" actId="478"/>
          <ac:picMkLst>
            <pc:docMk/>
            <pc:sldMk cId="1597081" sldId="271"/>
            <ac:picMk id="45" creationId="{4505C6D1-3C65-C068-2218-17A0CC896C66}"/>
          </ac:picMkLst>
        </pc:picChg>
        <pc:picChg chg="del">
          <ac:chgData name="Liang Yang" userId="7a7c13a3-d26c-494d-9577-22c5c3f8a804" providerId="ADAL" clId="{F9BD9BDC-E3A3-481D-AB34-D332F61F93E2}" dt="2024-05-13T19:47:02.565" v="7966" actId="478"/>
          <ac:picMkLst>
            <pc:docMk/>
            <pc:sldMk cId="1597081" sldId="271"/>
            <ac:picMk id="1026" creationId="{E53B59E2-197D-8D1F-A46E-359EE3450282}"/>
          </ac:picMkLst>
        </pc:picChg>
        <pc:picChg chg="del">
          <ac:chgData name="Liang Yang" userId="7a7c13a3-d26c-494d-9577-22c5c3f8a804" providerId="ADAL" clId="{F9BD9BDC-E3A3-481D-AB34-D332F61F93E2}" dt="2024-05-13T19:47:01.019" v="7965" actId="478"/>
          <ac:picMkLst>
            <pc:docMk/>
            <pc:sldMk cId="1597081" sldId="271"/>
            <ac:picMk id="1030" creationId="{9AAECD12-45B2-EC5B-5F8B-3B0F79BECF51}"/>
          </ac:picMkLst>
        </pc:picChg>
        <pc:picChg chg="add mod">
          <ac:chgData name="Liang Yang" userId="7a7c13a3-d26c-494d-9577-22c5c3f8a804" providerId="ADAL" clId="{F9BD9BDC-E3A3-481D-AB34-D332F61F93E2}" dt="2024-05-13T19:54:25.074" v="8078" actId="1076"/>
          <ac:picMkLst>
            <pc:docMk/>
            <pc:sldMk cId="1597081" sldId="271"/>
            <ac:picMk id="2050" creationId="{03AE52D9-50E0-763B-C329-5ECFD9C7A44E}"/>
          </ac:picMkLst>
        </pc:picChg>
        <pc:picChg chg="add mod">
          <ac:chgData name="Liang Yang" userId="7a7c13a3-d26c-494d-9577-22c5c3f8a804" providerId="ADAL" clId="{F9BD9BDC-E3A3-481D-AB34-D332F61F93E2}" dt="2024-05-13T20:03:15.170" v="8157" actId="1038"/>
          <ac:picMkLst>
            <pc:docMk/>
            <pc:sldMk cId="1597081" sldId="271"/>
            <ac:picMk id="2052" creationId="{524835E6-389C-B2AB-D10C-3C665A60F202}"/>
          </ac:picMkLst>
        </pc:picChg>
        <pc:cxnChg chg="add mod">
          <ac:chgData name="Liang Yang" userId="7a7c13a3-d26c-494d-9577-22c5c3f8a804" providerId="ADAL" clId="{F9BD9BDC-E3A3-481D-AB34-D332F61F93E2}" dt="2024-05-13T19:50:06.501" v="7977" actId="14100"/>
          <ac:cxnSpMkLst>
            <pc:docMk/>
            <pc:sldMk cId="1597081" sldId="271"/>
            <ac:cxnSpMk id="34" creationId="{A3CEBDB2-9295-3267-8856-E5D629BBAD10}"/>
          </ac:cxnSpMkLst>
        </pc:cxnChg>
        <pc:cxnChg chg="add mod">
          <ac:chgData name="Liang Yang" userId="7a7c13a3-d26c-494d-9577-22c5c3f8a804" providerId="ADAL" clId="{F9BD9BDC-E3A3-481D-AB34-D332F61F93E2}" dt="2024-05-13T19:50:11.582" v="7978" actId="571"/>
          <ac:cxnSpMkLst>
            <pc:docMk/>
            <pc:sldMk cId="1597081" sldId="271"/>
            <ac:cxnSpMk id="39" creationId="{DAAFCC8A-757F-0520-6E70-7DF6326A696E}"/>
          </ac:cxnSpMkLst>
        </pc:cxnChg>
        <pc:cxnChg chg="del">
          <ac:chgData name="Liang Yang" userId="7a7c13a3-d26c-494d-9577-22c5c3f8a804" providerId="ADAL" clId="{F9BD9BDC-E3A3-481D-AB34-D332F61F93E2}" dt="2024-05-13T19:47:05.939" v="7967" actId="478"/>
          <ac:cxnSpMkLst>
            <pc:docMk/>
            <pc:sldMk cId="1597081" sldId="271"/>
            <ac:cxnSpMk id="55" creationId="{605875F3-EEBE-C9CF-6D68-F353F4E8B4B2}"/>
          </ac:cxnSpMkLst>
        </pc:cxnChg>
        <pc:cxnChg chg="del">
          <ac:chgData name="Liang Yang" userId="7a7c13a3-d26c-494d-9577-22c5c3f8a804" providerId="ADAL" clId="{F9BD9BDC-E3A3-481D-AB34-D332F61F93E2}" dt="2024-05-13T19:47:05.939" v="7967" actId="478"/>
          <ac:cxnSpMkLst>
            <pc:docMk/>
            <pc:sldMk cId="1597081" sldId="271"/>
            <ac:cxnSpMk id="57" creationId="{CC7FC0B2-0BAE-469A-499B-950E29495BF7}"/>
          </ac:cxnSpMkLst>
        </pc:cxnChg>
      </pc:sldChg>
      <pc:sldChg chg="addSp delSp modSp add del mod">
        <pc:chgData name="Liang Yang" userId="7a7c13a3-d26c-494d-9577-22c5c3f8a804" providerId="ADAL" clId="{F9BD9BDC-E3A3-481D-AB34-D332F61F93E2}" dt="2024-05-13T21:51:28.638" v="10542" actId="47"/>
        <pc:sldMkLst>
          <pc:docMk/>
          <pc:sldMk cId="509286931" sldId="272"/>
        </pc:sldMkLst>
        <pc:spChg chg="mod">
          <ac:chgData name="Liang Yang" userId="7a7c13a3-d26c-494d-9577-22c5c3f8a804" providerId="ADAL" clId="{F9BD9BDC-E3A3-481D-AB34-D332F61F93E2}" dt="2024-05-13T19:46:31.737" v="7811" actId="948"/>
          <ac:spMkLst>
            <pc:docMk/>
            <pc:sldMk cId="509286931" sldId="272"/>
            <ac:spMk id="2" creationId="{190C47B4-A196-DC50-2C83-9E3B6718CD8B}"/>
          </ac:spMkLst>
        </pc:spChg>
        <pc:spChg chg="add del mod modVis">
          <ac:chgData name="Liang Yang" userId="7a7c13a3-d26c-494d-9577-22c5c3f8a804" providerId="ADAL" clId="{F9BD9BDC-E3A3-481D-AB34-D332F61F93E2}" dt="2024-05-13T19:46:25.355" v="7675"/>
          <ac:spMkLst>
            <pc:docMk/>
            <pc:sldMk cId="509286931" sldId="272"/>
            <ac:spMk id="6" creationId="{7AEE682B-DA76-A3B2-C1BF-F3245105126C}"/>
          </ac:spMkLst>
        </pc:spChg>
        <pc:spChg chg="add del mod modVis">
          <ac:chgData name="Liang Yang" userId="7a7c13a3-d26c-494d-9577-22c5c3f8a804" providerId="ADAL" clId="{F9BD9BDC-E3A3-481D-AB34-D332F61F93E2}" dt="2024-05-13T19:46:25.664" v="7704"/>
          <ac:spMkLst>
            <pc:docMk/>
            <pc:sldMk cId="509286931" sldId="272"/>
            <ac:spMk id="7" creationId="{92C8F1D4-AB74-46D0-9A28-EDEE5C4AF206}"/>
          </ac:spMkLst>
        </pc:spChg>
        <pc:spChg chg="add del mod modVis">
          <ac:chgData name="Liang Yang" userId="7a7c13a3-d26c-494d-9577-22c5c3f8a804" providerId="ADAL" clId="{F9BD9BDC-E3A3-481D-AB34-D332F61F93E2}" dt="2024-05-13T19:46:27.540" v="7734"/>
          <ac:spMkLst>
            <pc:docMk/>
            <pc:sldMk cId="509286931" sldId="272"/>
            <ac:spMk id="8" creationId="{EF761BDB-AA81-E7F0-7EDD-055D8A750ED6}"/>
          </ac:spMkLst>
        </pc:spChg>
        <pc:spChg chg="add del mod modVis">
          <ac:chgData name="Liang Yang" userId="7a7c13a3-d26c-494d-9577-22c5c3f8a804" providerId="ADAL" clId="{F9BD9BDC-E3A3-481D-AB34-D332F61F93E2}" dt="2024-05-13T19:46:29.455" v="7772"/>
          <ac:spMkLst>
            <pc:docMk/>
            <pc:sldMk cId="509286931" sldId="272"/>
            <ac:spMk id="9" creationId="{9633B896-ADFA-AF80-E9BA-86B781FF467E}"/>
          </ac:spMkLst>
        </pc:spChg>
        <pc:spChg chg="add del mod modVis">
          <ac:chgData name="Liang Yang" userId="7a7c13a3-d26c-494d-9577-22c5c3f8a804" providerId="ADAL" clId="{F9BD9BDC-E3A3-481D-AB34-D332F61F93E2}" dt="2024-05-13T19:46:30.794" v="7804"/>
          <ac:spMkLst>
            <pc:docMk/>
            <pc:sldMk cId="509286931" sldId="272"/>
            <ac:spMk id="10" creationId="{5E5912B8-D709-15FD-BBEE-055563725DF4}"/>
          </ac:spMkLst>
        </pc:spChg>
        <pc:spChg chg="add del mod modVis">
          <ac:chgData name="Liang Yang" userId="7a7c13a3-d26c-494d-9577-22c5c3f8a804" providerId="ADAL" clId="{F9BD9BDC-E3A3-481D-AB34-D332F61F93E2}" dt="2024-05-13T19:46:31.760" v="7836"/>
          <ac:spMkLst>
            <pc:docMk/>
            <pc:sldMk cId="509286931" sldId="272"/>
            <ac:spMk id="11" creationId="{4632C6EF-3308-4A72-2670-669F1D5235C8}"/>
          </ac:spMkLst>
        </pc:spChg>
        <pc:graphicFrameChg chg="mod">
          <ac:chgData name="Liang Yang" userId="7a7c13a3-d26c-494d-9577-22c5c3f8a804" providerId="ADAL" clId="{F9BD9BDC-E3A3-481D-AB34-D332F61F93E2}" dt="2024-05-13T19:46:31.764" v="7838"/>
          <ac:graphicFrameMkLst>
            <pc:docMk/>
            <pc:sldMk cId="509286931" sldId="272"/>
            <ac:graphicFrameMk id="5" creationId="{C6112179-68C2-DCF3-BF3D-B38605D02DE1}"/>
          </ac:graphicFrameMkLst>
        </pc:graphicFrameChg>
      </pc:sldChg>
      <pc:sldChg chg="addSp delSp modSp add mod">
        <pc:chgData name="Liang Yang" userId="7a7c13a3-d26c-494d-9577-22c5c3f8a804" providerId="ADAL" clId="{F9BD9BDC-E3A3-481D-AB34-D332F61F93E2}" dt="2024-05-13T21:56:36.364" v="10885" actId="1076"/>
        <pc:sldMkLst>
          <pc:docMk/>
          <pc:sldMk cId="2431246279" sldId="273"/>
        </pc:sldMkLst>
        <pc:spChg chg="mod">
          <ac:chgData name="Liang Yang" userId="7a7c13a3-d26c-494d-9577-22c5c3f8a804" providerId="ADAL" clId="{F9BD9BDC-E3A3-481D-AB34-D332F61F93E2}" dt="2024-05-13T20:32:04.230" v="9413" actId="948"/>
          <ac:spMkLst>
            <pc:docMk/>
            <pc:sldMk cId="2431246279" sldId="273"/>
            <ac:spMk id="2" creationId="{CBADF92F-4066-F747-AAEF-597A8340E927}"/>
          </ac:spMkLst>
        </pc:spChg>
        <pc:spChg chg="add mod">
          <ac:chgData name="Liang Yang" userId="7a7c13a3-d26c-494d-9577-22c5c3f8a804" providerId="ADAL" clId="{F9BD9BDC-E3A3-481D-AB34-D332F61F93E2}" dt="2024-05-13T21:56:25.106" v="10881" actId="1076"/>
          <ac:spMkLst>
            <pc:docMk/>
            <pc:sldMk cId="2431246279" sldId="273"/>
            <ac:spMk id="9" creationId="{76AF5A67-A96D-A899-BB90-0F6D84AFF91B}"/>
          </ac:spMkLst>
        </pc:spChg>
        <pc:spChg chg="add del mod modVis">
          <ac:chgData name="Liang Yang" userId="7a7c13a3-d26c-494d-9577-22c5c3f8a804" providerId="ADAL" clId="{F9BD9BDC-E3A3-481D-AB34-D332F61F93E2}" dt="2024-05-13T20:32:01.800" v="9373"/>
          <ac:spMkLst>
            <pc:docMk/>
            <pc:sldMk cId="2431246279" sldId="273"/>
            <ac:spMk id="10" creationId="{F61E6776-5E45-0DEE-29C9-405649D7E55D}"/>
          </ac:spMkLst>
        </pc:spChg>
        <pc:spChg chg="add del mod modVis">
          <ac:chgData name="Liang Yang" userId="7a7c13a3-d26c-494d-9577-22c5c3f8a804" providerId="ADAL" clId="{F9BD9BDC-E3A3-481D-AB34-D332F61F93E2}" dt="2024-05-13T20:32:03.051" v="9404"/>
          <ac:spMkLst>
            <pc:docMk/>
            <pc:sldMk cId="2431246279" sldId="273"/>
            <ac:spMk id="11" creationId="{DCE9AA8D-D885-B87E-8CC1-E1E1EA5B068D}"/>
          </ac:spMkLst>
        </pc:spChg>
        <pc:spChg chg="add del mod modVis">
          <ac:chgData name="Liang Yang" userId="7a7c13a3-d26c-494d-9577-22c5c3f8a804" providerId="ADAL" clId="{F9BD9BDC-E3A3-481D-AB34-D332F61F93E2}" dt="2024-05-13T20:32:04.250" v="9437"/>
          <ac:spMkLst>
            <pc:docMk/>
            <pc:sldMk cId="2431246279" sldId="273"/>
            <ac:spMk id="12" creationId="{A283F7D3-A617-619B-111B-F766E1CEA706}"/>
          </ac:spMkLst>
        </pc:spChg>
        <pc:spChg chg="add mod">
          <ac:chgData name="Liang Yang" userId="7a7c13a3-d26c-494d-9577-22c5c3f8a804" providerId="ADAL" clId="{F9BD9BDC-E3A3-481D-AB34-D332F61F93E2}" dt="2024-05-13T21:56:33.404" v="10883" actId="1076"/>
          <ac:spMkLst>
            <pc:docMk/>
            <pc:sldMk cId="2431246279" sldId="273"/>
            <ac:spMk id="13" creationId="{4D675EC5-B653-FCEB-618B-4A9F1B355FF6}"/>
          </ac:spMkLst>
        </pc:spChg>
        <pc:spChg chg="add mod">
          <ac:chgData name="Liang Yang" userId="7a7c13a3-d26c-494d-9577-22c5c3f8a804" providerId="ADAL" clId="{F9BD9BDC-E3A3-481D-AB34-D332F61F93E2}" dt="2024-05-13T21:56:33.404" v="10883" actId="1076"/>
          <ac:spMkLst>
            <pc:docMk/>
            <pc:sldMk cId="2431246279" sldId="273"/>
            <ac:spMk id="14" creationId="{60DBA03E-5ECF-3230-05FA-59BF9D9BBECA}"/>
          </ac:spMkLst>
        </pc:spChg>
        <pc:spChg chg="add del mod">
          <ac:chgData name="Liang Yang" userId="7a7c13a3-d26c-494d-9577-22c5c3f8a804" providerId="ADAL" clId="{F9BD9BDC-E3A3-481D-AB34-D332F61F93E2}" dt="2024-05-13T21:12:49.503" v="9853" actId="1035"/>
          <ac:spMkLst>
            <pc:docMk/>
            <pc:sldMk cId="2431246279" sldId="273"/>
            <ac:spMk id="15" creationId="{EE6C93A7-D0AA-06F7-00AE-58A28EE5E384}"/>
          </ac:spMkLst>
        </pc:spChg>
        <pc:spChg chg="add mod">
          <ac:chgData name="Liang Yang" userId="7a7c13a3-d26c-494d-9577-22c5c3f8a804" providerId="ADAL" clId="{F9BD9BDC-E3A3-481D-AB34-D332F61F93E2}" dt="2024-05-13T21:01:11.895" v="9707"/>
          <ac:spMkLst>
            <pc:docMk/>
            <pc:sldMk cId="2431246279" sldId="273"/>
            <ac:spMk id="16" creationId="{F4AE796A-3010-B0B2-695F-B1822405CA99}"/>
          </ac:spMkLst>
        </pc:spChg>
        <pc:spChg chg="add mod">
          <ac:chgData name="Liang Yang" userId="7a7c13a3-d26c-494d-9577-22c5c3f8a804" providerId="ADAL" clId="{F9BD9BDC-E3A3-481D-AB34-D332F61F93E2}" dt="2024-05-13T21:24:41.542" v="10124" actId="1076"/>
          <ac:spMkLst>
            <pc:docMk/>
            <pc:sldMk cId="2431246279" sldId="273"/>
            <ac:spMk id="17" creationId="{C3498507-3814-BFFE-8CC1-EA5D81A8E3FB}"/>
          </ac:spMkLst>
        </pc:spChg>
        <pc:spChg chg="add mod">
          <ac:chgData name="Liang Yang" userId="7a7c13a3-d26c-494d-9577-22c5c3f8a804" providerId="ADAL" clId="{F9BD9BDC-E3A3-481D-AB34-D332F61F93E2}" dt="2024-05-13T21:24:50.121" v="10127" actId="1076"/>
          <ac:spMkLst>
            <pc:docMk/>
            <pc:sldMk cId="2431246279" sldId="273"/>
            <ac:spMk id="20" creationId="{B707A3B2-885B-7D16-9A3E-CC7EF3985BD4}"/>
          </ac:spMkLst>
        </pc:spChg>
        <pc:spChg chg="add del mod">
          <ac:chgData name="Liang Yang" userId="7a7c13a3-d26c-494d-9577-22c5c3f8a804" providerId="ADAL" clId="{F9BD9BDC-E3A3-481D-AB34-D332F61F93E2}" dt="2024-05-13T21:24:25.854" v="10121" actId="478"/>
          <ac:spMkLst>
            <pc:docMk/>
            <pc:sldMk cId="2431246279" sldId="273"/>
            <ac:spMk id="31" creationId="{087564BC-B682-FBAB-ED9B-26BEC670AED9}"/>
          </ac:spMkLst>
        </pc:spChg>
        <pc:spChg chg="del">
          <ac:chgData name="Liang Yang" userId="7a7c13a3-d26c-494d-9577-22c5c3f8a804" providerId="ADAL" clId="{F9BD9BDC-E3A3-481D-AB34-D332F61F93E2}" dt="2024-05-13T20:25:11.535" v="9287" actId="478"/>
          <ac:spMkLst>
            <pc:docMk/>
            <pc:sldMk cId="2431246279" sldId="273"/>
            <ac:spMk id="33" creationId="{2C3AD30F-CD20-74DF-528D-3403D575DC16}"/>
          </ac:spMkLst>
        </pc:spChg>
        <pc:spChg chg="del mod">
          <ac:chgData name="Liang Yang" userId="7a7c13a3-d26c-494d-9577-22c5c3f8a804" providerId="ADAL" clId="{F9BD9BDC-E3A3-481D-AB34-D332F61F93E2}" dt="2024-05-13T20:25:29.098" v="9291" actId="478"/>
          <ac:spMkLst>
            <pc:docMk/>
            <pc:sldMk cId="2431246279" sldId="273"/>
            <ac:spMk id="37" creationId="{08EB628E-A814-EE65-43B2-D4C8A5D8385E}"/>
          </ac:spMkLst>
        </pc:spChg>
        <pc:spChg chg="add del">
          <ac:chgData name="Liang Yang" userId="7a7c13a3-d26c-494d-9577-22c5c3f8a804" providerId="ADAL" clId="{F9BD9BDC-E3A3-481D-AB34-D332F61F93E2}" dt="2024-05-13T20:25:05.541" v="9286" actId="478"/>
          <ac:spMkLst>
            <pc:docMk/>
            <pc:sldMk cId="2431246279" sldId="273"/>
            <ac:spMk id="40" creationId="{3D2FC65D-DD6A-928A-C26C-28BB1323C362}"/>
          </ac:spMkLst>
        </pc:spChg>
        <pc:spChg chg="add del">
          <ac:chgData name="Liang Yang" userId="7a7c13a3-d26c-494d-9577-22c5c3f8a804" providerId="ADAL" clId="{F9BD9BDC-E3A3-481D-AB34-D332F61F93E2}" dt="2024-05-13T20:25:31.435" v="9293" actId="478"/>
          <ac:spMkLst>
            <pc:docMk/>
            <pc:sldMk cId="2431246279" sldId="273"/>
            <ac:spMk id="41" creationId="{08ADEC97-8FF4-8F6F-399A-CC7B4CE15BAC}"/>
          </ac:spMkLst>
        </pc:spChg>
        <pc:spChg chg="add del">
          <ac:chgData name="Liang Yang" userId="7a7c13a3-d26c-494d-9577-22c5c3f8a804" providerId="ADAL" clId="{F9BD9BDC-E3A3-481D-AB34-D332F61F93E2}" dt="2024-05-13T20:25:32.564" v="9294" actId="478"/>
          <ac:spMkLst>
            <pc:docMk/>
            <pc:sldMk cId="2431246279" sldId="273"/>
            <ac:spMk id="43" creationId="{B7F0E4DF-9079-F1CB-2598-C772A8C3BDB4}"/>
          </ac:spMkLst>
        </pc:spChg>
        <pc:graphicFrameChg chg="mod">
          <ac:chgData name="Liang Yang" userId="7a7c13a3-d26c-494d-9577-22c5c3f8a804" providerId="ADAL" clId="{F9BD9BDC-E3A3-481D-AB34-D332F61F93E2}" dt="2024-05-13T20:32:04.253" v="9439"/>
          <ac:graphicFrameMkLst>
            <pc:docMk/>
            <pc:sldMk cId="2431246279" sldId="273"/>
            <ac:graphicFrameMk id="4" creationId="{B0DF492E-9842-C18F-58FA-A416AC8482E4}"/>
          </ac:graphicFrameMkLst>
        </pc:graphicFrameChg>
        <pc:picChg chg="add mod modCrop">
          <ac:chgData name="Liang Yang" userId="7a7c13a3-d26c-494d-9577-22c5c3f8a804" providerId="ADAL" clId="{F9BD9BDC-E3A3-481D-AB34-D332F61F93E2}" dt="2024-05-13T21:24:33.422" v="10123" actId="1076"/>
          <ac:picMkLst>
            <pc:docMk/>
            <pc:sldMk cId="2431246279" sldId="273"/>
            <ac:picMk id="19" creationId="{ABBBD4FC-83B7-717C-08C8-B8908EB42B05}"/>
          </ac:picMkLst>
        </pc:picChg>
        <pc:picChg chg="add del">
          <ac:chgData name="Liang Yang" userId="7a7c13a3-d26c-494d-9577-22c5c3f8a804" providerId="ADAL" clId="{F9BD9BDC-E3A3-481D-AB34-D332F61F93E2}" dt="2024-05-13T20:25:05.541" v="9286" actId="478"/>
          <ac:picMkLst>
            <pc:docMk/>
            <pc:sldMk cId="2431246279" sldId="273"/>
            <ac:picMk id="2050" creationId="{03AE52D9-50E0-763B-C329-5ECFD9C7A44E}"/>
          </ac:picMkLst>
        </pc:picChg>
        <pc:picChg chg="add del mod">
          <ac:chgData name="Liang Yang" userId="7a7c13a3-d26c-494d-9577-22c5c3f8a804" providerId="ADAL" clId="{F9BD9BDC-E3A3-481D-AB34-D332F61F93E2}" dt="2024-05-13T21:24:25.854" v="10121" actId="478"/>
          <ac:picMkLst>
            <pc:docMk/>
            <pc:sldMk cId="2431246279" sldId="273"/>
            <ac:picMk id="2052" creationId="{524835E6-389C-B2AB-D10C-3C665A60F202}"/>
          </ac:picMkLst>
        </pc:picChg>
        <pc:picChg chg="add del mod">
          <ac:chgData name="Liang Yang" userId="7a7c13a3-d26c-494d-9577-22c5c3f8a804" providerId="ADAL" clId="{F9BD9BDC-E3A3-481D-AB34-D332F61F93E2}" dt="2024-05-13T20:28:20.682" v="9298" actId="478"/>
          <ac:picMkLst>
            <pc:docMk/>
            <pc:sldMk cId="2431246279" sldId="273"/>
            <ac:picMk id="5122" creationId="{3A0793DF-689A-BFDF-857C-047B0B9E0950}"/>
          </ac:picMkLst>
        </pc:picChg>
        <pc:picChg chg="add mod">
          <ac:chgData name="Liang Yang" userId="7a7c13a3-d26c-494d-9577-22c5c3f8a804" providerId="ADAL" clId="{F9BD9BDC-E3A3-481D-AB34-D332F61F93E2}" dt="2024-05-13T21:56:36.364" v="10885" actId="1076"/>
          <ac:picMkLst>
            <pc:docMk/>
            <pc:sldMk cId="2431246279" sldId="273"/>
            <ac:picMk id="5124" creationId="{4EB336BD-2F17-6048-5B86-2A47A4244B3D}"/>
          </ac:picMkLst>
        </pc:picChg>
        <pc:cxnChg chg="add del mod">
          <ac:chgData name="Liang Yang" userId="7a7c13a3-d26c-494d-9577-22c5c3f8a804" providerId="ADAL" clId="{F9BD9BDC-E3A3-481D-AB34-D332F61F93E2}" dt="2024-05-13T20:31:27.323" v="9312" actId="478"/>
          <ac:cxnSpMkLst>
            <pc:docMk/>
            <pc:sldMk cId="2431246279" sldId="273"/>
            <ac:cxnSpMk id="5" creationId="{661F6EE1-A698-4309-7CA5-930315D8189F}"/>
          </ac:cxnSpMkLst>
        </pc:cxnChg>
        <pc:cxnChg chg="add del mod">
          <ac:chgData name="Liang Yang" userId="7a7c13a3-d26c-494d-9577-22c5c3f8a804" providerId="ADAL" clId="{F9BD9BDC-E3A3-481D-AB34-D332F61F93E2}" dt="2024-05-13T20:31:26.809" v="9311" actId="478"/>
          <ac:cxnSpMkLst>
            <pc:docMk/>
            <pc:sldMk cId="2431246279" sldId="273"/>
            <ac:cxnSpMk id="6" creationId="{C15F9B5B-7DF1-6CCF-97A0-635678EA0EF0}"/>
          </ac:cxnSpMkLst>
        </pc:cxnChg>
        <pc:cxnChg chg="add mod">
          <ac:chgData name="Liang Yang" userId="7a7c13a3-d26c-494d-9577-22c5c3f8a804" providerId="ADAL" clId="{F9BD9BDC-E3A3-481D-AB34-D332F61F93E2}" dt="2024-05-13T21:24:47.871" v="10126" actId="1076"/>
          <ac:cxnSpMkLst>
            <pc:docMk/>
            <pc:sldMk cId="2431246279" sldId="273"/>
            <ac:cxnSpMk id="22" creationId="{02C83CCA-C7FB-142A-25CF-35F87E97B849}"/>
          </ac:cxnSpMkLst>
        </pc:cxnChg>
        <pc:cxnChg chg="add del">
          <ac:chgData name="Liang Yang" userId="7a7c13a3-d26c-494d-9577-22c5c3f8a804" providerId="ADAL" clId="{F9BD9BDC-E3A3-481D-AB34-D332F61F93E2}" dt="2024-05-13T20:25:05.541" v="9286" actId="478"/>
          <ac:cxnSpMkLst>
            <pc:docMk/>
            <pc:sldMk cId="2431246279" sldId="273"/>
            <ac:cxnSpMk id="34" creationId="{A3CEBDB2-9295-3267-8856-E5D629BBAD10}"/>
          </ac:cxnSpMkLst>
        </pc:cxnChg>
        <pc:cxnChg chg="add del">
          <ac:chgData name="Liang Yang" userId="7a7c13a3-d26c-494d-9577-22c5c3f8a804" providerId="ADAL" clId="{F9BD9BDC-E3A3-481D-AB34-D332F61F93E2}" dt="2024-05-13T20:25:30.765" v="9292" actId="478"/>
          <ac:cxnSpMkLst>
            <pc:docMk/>
            <pc:sldMk cId="2431246279" sldId="273"/>
            <ac:cxnSpMk id="39" creationId="{DAAFCC8A-757F-0520-6E70-7DF6326A696E}"/>
          </ac:cxnSpMkLst>
        </pc:cxnChg>
      </pc:sldChg>
      <pc:sldChg chg="addSp delSp modSp add mod">
        <pc:chgData name="Liang Yang" userId="7a7c13a3-d26c-494d-9577-22c5c3f8a804" providerId="ADAL" clId="{F9BD9BDC-E3A3-481D-AB34-D332F61F93E2}" dt="2024-05-13T21:55:58.758" v="10878" actId="20577"/>
        <pc:sldMkLst>
          <pc:docMk/>
          <pc:sldMk cId="1488541577" sldId="274"/>
        </pc:sldMkLst>
        <pc:spChg chg="mod">
          <ac:chgData name="Liang Yang" userId="7a7c13a3-d26c-494d-9577-22c5c3f8a804" providerId="ADAL" clId="{F9BD9BDC-E3A3-481D-AB34-D332F61F93E2}" dt="2024-05-13T21:34:16.871" v="10424" actId="948"/>
          <ac:spMkLst>
            <pc:docMk/>
            <pc:sldMk cId="1488541577" sldId="274"/>
            <ac:spMk id="2" creationId="{CBADF92F-4066-F747-AAEF-597A8340E927}"/>
          </ac:spMkLst>
        </pc:spChg>
        <pc:spChg chg="add del mod">
          <ac:chgData name="Liang Yang" userId="7a7c13a3-d26c-494d-9577-22c5c3f8a804" providerId="ADAL" clId="{F9BD9BDC-E3A3-481D-AB34-D332F61F93E2}" dt="2024-05-13T21:24:55.700" v="10129" actId="478"/>
          <ac:spMkLst>
            <pc:docMk/>
            <pc:sldMk cId="1488541577" sldId="274"/>
            <ac:spMk id="3" creationId="{CA950E09-61F7-5EE5-7ECD-828280218EB5}"/>
          </ac:spMkLst>
        </pc:spChg>
        <pc:spChg chg="add mod">
          <ac:chgData name="Liang Yang" userId="7a7c13a3-d26c-494d-9577-22c5c3f8a804" providerId="ADAL" clId="{F9BD9BDC-E3A3-481D-AB34-D332F61F93E2}" dt="2024-05-13T21:28:09.099" v="10317" actId="20577"/>
          <ac:spMkLst>
            <pc:docMk/>
            <pc:sldMk cId="1488541577" sldId="274"/>
            <ac:spMk id="5" creationId="{15B28621-68B7-B9C5-6A7C-555C25B2125E}"/>
          </ac:spMkLst>
        </pc:spChg>
        <pc:spChg chg="add del mod modVis">
          <ac:chgData name="Liang Yang" userId="7a7c13a3-d26c-494d-9577-22c5c3f8a804" providerId="ADAL" clId="{F9BD9BDC-E3A3-481D-AB34-D332F61F93E2}" dt="2024-05-13T21:34:13.371" v="10378"/>
          <ac:spMkLst>
            <pc:docMk/>
            <pc:sldMk cId="1488541577" sldId="274"/>
            <ac:spMk id="6" creationId="{CB6A3977-7848-1F8E-8C4B-470FFA07AC98}"/>
          </ac:spMkLst>
        </pc:spChg>
        <pc:spChg chg="add del mod modVis">
          <ac:chgData name="Liang Yang" userId="7a7c13a3-d26c-494d-9577-22c5c3f8a804" providerId="ADAL" clId="{F9BD9BDC-E3A3-481D-AB34-D332F61F93E2}" dt="2024-05-13T21:34:15.527" v="10415"/>
          <ac:spMkLst>
            <pc:docMk/>
            <pc:sldMk cId="1488541577" sldId="274"/>
            <ac:spMk id="7" creationId="{E9A8441A-E8E7-F8CF-12E3-9EEF2508EC84}"/>
          </ac:spMkLst>
        </pc:spChg>
        <pc:spChg chg="add del mod modVis">
          <ac:chgData name="Liang Yang" userId="7a7c13a3-d26c-494d-9577-22c5c3f8a804" providerId="ADAL" clId="{F9BD9BDC-E3A3-481D-AB34-D332F61F93E2}" dt="2024-05-13T21:34:16.887" v="10448"/>
          <ac:spMkLst>
            <pc:docMk/>
            <pc:sldMk cId="1488541577" sldId="274"/>
            <ac:spMk id="8" creationId="{66D1CD56-1173-4DFA-36B1-B30FA7488FF1}"/>
          </ac:spMkLst>
        </pc:spChg>
        <pc:spChg chg="del">
          <ac:chgData name="Liang Yang" userId="7a7c13a3-d26c-494d-9577-22c5c3f8a804" providerId="ADAL" clId="{F9BD9BDC-E3A3-481D-AB34-D332F61F93E2}" dt="2024-05-13T21:21:53.543" v="10092" actId="478"/>
          <ac:spMkLst>
            <pc:docMk/>
            <pc:sldMk cId="1488541577" sldId="274"/>
            <ac:spMk id="9" creationId="{76AF5A67-A96D-A899-BB90-0F6D84AFF91B}"/>
          </ac:spMkLst>
        </pc:spChg>
        <pc:spChg chg="del">
          <ac:chgData name="Liang Yang" userId="7a7c13a3-d26c-494d-9577-22c5c3f8a804" providerId="ADAL" clId="{F9BD9BDC-E3A3-481D-AB34-D332F61F93E2}" dt="2024-05-13T21:21:56.595" v="10093" actId="478"/>
          <ac:spMkLst>
            <pc:docMk/>
            <pc:sldMk cId="1488541577" sldId="274"/>
            <ac:spMk id="13" creationId="{4D675EC5-B653-FCEB-618B-4A9F1B355FF6}"/>
          </ac:spMkLst>
        </pc:spChg>
        <pc:spChg chg="del">
          <ac:chgData name="Liang Yang" userId="7a7c13a3-d26c-494d-9577-22c5c3f8a804" providerId="ADAL" clId="{F9BD9BDC-E3A3-481D-AB34-D332F61F93E2}" dt="2024-05-13T21:21:53.543" v="10092" actId="478"/>
          <ac:spMkLst>
            <pc:docMk/>
            <pc:sldMk cId="1488541577" sldId="274"/>
            <ac:spMk id="14" creationId="{60DBA03E-5ECF-3230-05FA-59BF9D9BBECA}"/>
          </ac:spMkLst>
        </pc:spChg>
        <pc:spChg chg="del">
          <ac:chgData name="Liang Yang" userId="7a7c13a3-d26c-494d-9577-22c5c3f8a804" providerId="ADAL" clId="{F9BD9BDC-E3A3-481D-AB34-D332F61F93E2}" dt="2024-05-13T21:21:56.595" v="10093" actId="478"/>
          <ac:spMkLst>
            <pc:docMk/>
            <pc:sldMk cId="1488541577" sldId="274"/>
            <ac:spMk id="15" creationId="{EE6C93A7-D0AA-06F7-00AE-58A28EE5E384}"/>
          </ac:spMkLst>
        </pc:spChg>
        <pc:spChg chg="del">
          <ac:chgData name="Liang Yang" userId="7a7c13a3-d26c-494d-9577-22c5c3f8a804" providerId="ADAL" clId="{F9BD9BDC-E3A3-481D-AB34-D332F61F93E2}" dt="2024-05-13T21:21:53.543" v="10092" actId="478"/>
          <ac:spMkLst>
            <pc:docMk/>
            <pc:sldMk cId="1488541577" sldId="274"/>
            <ac:spMk id="17" creationId="{C3498507-3814-BFFE-8CC1-EA5D81A8E3FB}"/>
          </ac:spMkLst>
        </pc:spChg>
        <pc:spChg chg="add mod">
          <ac:chgData name="Liang Yang" userId="7a7c13a3-d26c-494d-9577-22c5c3f8a804" providerId="ADAL" clId="{F9BD9BDC-E3A3-481D-AB34-D332F61F93E2}" dt="2024-05-13T21:55:58.758" v="10878" actId="20577"/>
          <ac:spMkLst>
            <pc:docMk/>
            <pc:sldMk cId="1488541577" sldId="274"/>
            <ac:spMk id="18" creationId="{E31656E0-C7CD-FF1B-A41B-5B90AB47897A}"/>
          </ac:spMkLst>
        </pc:spChg>
        <pc:spChg chg="del mod">
          <ac:chgData name="Liang Yang" userId="7a7c13a3-d26c-494d-9577-22c5c3f8a804" providerId="ADAL" clId="{F9BD9BDC-E3A3-481D-AB34-D332F61F93E2}" dt="2024-05-13T21:22:00.381" v="10097" actId="478"/>
          <ac:spMkLst>
            <pc:docMk/>
            <pc:sldMk cId="1488541577" sldId="274"/>
            <ac:spMk id="20" creationId="{B707A3B2-885B-7D16-9A3E-CC7EF3985BD4}"/>
          </ac:spMkLst>
        </pc:spChg>
        <pc:spChg chg="del">
          <ac:chgData name="Liang Yang" userId="7a7c13a3-d26c-494d-9577-22c5c3f8a804" providerId="ADAL" clId="{F9BD9BDC-E3A3-481D-AB34-D332F61F93E2}" dt="2024-05-13T21:21:38.650" v="10091" actId="478"/>
          <ac:spMkLst>
            <pc:docMk/>
            <pc:sldMk cId="1488541577" sldId="274"/>
            <ac:spMk id="31" creationId="{087564BC-B682-FBAB-ED9B-26BEC670AED9}"/>
          </ac:spMkLst>
        </pc:spChg>
        <pc:graphicFrameChg chg="mod">
          <ac:chgData name="Liang Yang" userId="7a7c13a3-d26c-494d-9577-22c5c3f8a804" providerId="ADAL" clId="{F9BD9BDC-E3A3-481D-AB34-D332F61F93E2}" dt="2024-05-13T21:34:16.887" v="10450"/>
          <ac:graphicFrameMkLst>
            <pc:docMk/>
            <pc:sldMk cId="1488541577" sldId="274"/>
            <ac:graphicFrameMk id="4" creationId="{B0DF492E-9842-C18F-58FA-A416AC8482E4}"/>
          </ac:graphicFrameMkLst>
        </pc:graphicFrameChg>
        <pc:picChg chg="add mod">
          <ac:chgData name="Liang Yang" userId="7a7c13a3-d26c-494d-9577-22c5c3f8a804" providerId="ADAL" clId="{F9BD9BDC-E3A3-481D-AB34-D332F61F93E2}" dt="2024-05-13T21:34:56.380" v="10457" actId="1076"/>
          <ac:picMkLst>
            <pc:docMk/>
            <pc:sldMk cId="1488541577" sldId="274"/>
            <ac:picMk id="11" creationId="{897E8514-5510-8F4A-ECA8-5CB1F2CD26E4}"/>
          </ac:picMkLst>
        </pc:picChg>
        <pc:picChg chg="add mod">
          <ac:chgData name="Liang Yang" userId="7a7c13a3-d26c-494d-9577-22c5c3f8a804" providerId="ADAL" clId="{F9BD9BDC-E3A3-481D-AB34-D332F61F93E2}" dt="2024-05-13T21:49:07.155" v="10464" actId="1076"/>
          <ac:picMkLst>
            <pc:docMk/>
            <pc:sldMk cId="1488541577" sldId="274"/>
            <ac:picMk id="16" creationId="{47B28782-67ED-E90D-40AA-98080C6D76FB}"/>
          </ac:picMkLst>
        </pc:picChg>
        <pc:picChg chg="del">
          <ac:chgData name="Liang Yang" userId="7a7c13a3-d26c-494d-9577-22c5c3f8a804" providerId="ADAL" clId="{F9BD9BDC-E3A3-481D-AB34-D332F61F93E2}" dt="2024-05-13T21:21:58.087" v="10094" actId="478"/>
          <ac:picMkLst>
            <pc:docMk/>
            <pc:sldMk cId="1488541577" sldId="274"/>
            <ac:picMk id="19" creationId="{ABBBD4FC-83B7-717C-08C8-B8908EB42B05}"/>
          </ac:picMkLst>
        </pc:picChg>
        <pc:picChg chg="del mod">
          <ac:chgData name="Liang Yang" userId="7a7c13a3-d26c-494d-9577-22c5c3f8a804" providerId="ADAL" clId="{F9BD9BDC-E3A3-481D-AB34-D332F61F93E2}" dt="2024-05-13T21:24:55.127" v="10128" actId="478"/>
          <ac:picMkLst>
            <pc:docMk/>
            <pc:sldMk cId="1488541577" sldId="274"/>
            <ac:picMk id="2052" creationId="{524835E6-389C-B2AB-D10C-3C665A60F202}"/>
          </ac:picMkLst>
        </pc:picChg>
        <pc:picChg chg="del">
          <ac:chgData name="Liang Yang" userId="7a7c13a3-d26c-494d-9577-22c5c3f8a804" providerId="ADAL" clId="{F9BD9BDC-E3A3-481D-AB34-D332F61F93E2}" dt="2024-05-13T21:21:53.543" v="10092" actId="478"/>
          <ac:picMkLst>
            <pc:docMk/>
            <pc:sldMk cId="1488541577" sldId="274"/>
            <ac:picMk id="5124" creationId="{4EB336BD-2F17-6048-5B86-2A47A4244B3D}"/>
          </ac:picMkLst>
        </pc:picChg>
        <pc:picChg chg="add del mod">
          <ac:chgData name="Liang Yang" userId="7a7c13a3-d26c-494d-9577-22c5c3f8a804" providerId="ADAL" clId="{F9BD9BDC-E3A3-481D-AB34-D332F61F93E2}" dt="2024-05-13T21:54:01.022" v="10786" actId="478"/>
          <ac:picMkLst>
            <pc:docMk/>
            <pc:sldMk cId="1488541577" sldId="274"/>
            <ac:picMk id="6146" creationId="{569ED6DF-158D-6654-0EBA-EFCD7041F122}"/>
          </ac:picMkLst>
        </pc:picChg>
        <pc:picChg chg="add mod">
          <ac:chgData name="Liang Yang" userId="7a7c13a3-d26c-494d-9577-22c5c3f8a804" providerId="ADAL" clId="{F9BD9BDC-E3A3-481D-AB34-D332F61F93E2}" dt="2024-05-13T21:54:05.738" v="10790" actId="14100"/>
          <ac:picMkLst>
            <pc:docMk/>
            <pc:sldMk cId="1488541577" sldId="274"/>
            <ac:picMk id="6148" creationId="{2C3EFCA0-B059-6179-3F4C-2362C3AFA2A7}"/>
          </ac:picMkLst>
        </pc:picChg>
        <pc:picChg chg="add mod">
          <ac:chgData name="Liang Yang" userId="7a7c13a3-d26c-494d-9577-22c5c3f8a804" providerId="ADAL" clId="{F9BD9BDC-E3A3-481D-AB34-D332F61F93E2}" dt="2024-05-13T21:55:31.843" v="10794" actId="1076"/>
          <ac:picMkLst>
            <pc:docMk/>
            <pc:sldMk cId="1488541577" sldId="274"/>
            <ac:picMk id="6150" creationId="{B28010BA-AC62-09C7-DF57-8191F0977246}"/>
          </ac:picMkLst>
        </pc:picChg>
        <pc:cxnChg chg="del">
          <ac:chgData name="Liang Yang" userId="7a7c13a3-d26c-494d-9577-22c5c3f8a804" providerId="ADAL" clId="{F9BD9BDC-E3A3-481D-AB34-D332F61F93E2}" dt="2024-05-13T21:21:59.613" v="10096" actId="478"/>
          <ac:cxnSpMkLst>
            <pc:docMk/>
            <pc:sldMk cId="1488541577" sldId="274"/>
            <ac:cxnSpMk id="22" creationId="{02C83CCA-C7FB-142A-25CF-35F87E97B849}"/>
          </ac:cxnSpMkLst>
        </pc:cxnChg>
      </pc:sldChg>
      <pc:sldMasterChg chg="addSp delSp modSp mod modSldLayout">
        <pc:chgData name="Liang Yang" userId="7a7c13a3-d26c-494d-9577-22c5c3f8a804" providerId="ADAL" clId="{F9BD9BDC-E3A3-481D-AB34-D332F61F93E2}" dt="2024-05-13T15:19:59.712" v="1778" actId="478"/>
        <pc:sldMasterMkLst>
          <pc:docMk/>
          <pc:sldMasterMk cId="49487577" sldId="2147483648"/>
        </pc:sldMasterMkLst>
        <pc:spChg chg="add del mod">
          <ac:chgData name="Liang Yang" userId="7a7c13a3-d26c-494d-9577-22c5c3f8a804" providerId="ADAL" clId="{F9BD9BDC-E3A3-481D-AB34-D332F61F93E2}" dt="2024-05-13T15:16:14.510" v="1629" actId="478"/>
          <ac:spMkLst>
            <pc:docMk/>
            <pc:sldMasterMk cId="49487577" sldId="2147483648"/>
            <ac:spMk id="4" creationId="{CFAEB013-AA2E-9E2B-FCFE-F16D5DE0F302}"/>
          </ac:spMkLst>
        </pc:spChg>
        <pc:spChg chg="add del mod">
          <ac:chgData name="Liang Yang" userId="7a7c13a3-d26c-494d-9577-22c5c3f8a804" providerId="ADAL" clId="{F9BD9BDC-E3A3-481D-AB34-D332F61F93E2}" dt="2024-05-13T15:16:56.454" v="1642" actId="478"/>
          <ac:spMkLst>
            <pc:docMk/>
            <pc:sldMasterMk cId="49487577" sldId="2147483648"/>
            <ac:spMk id="7" creationId="{7AF41D0B-6590-8F0D-C7C7-9FF3A3289A74}"/>
          </ac:spMkLst>
        </pc:spChg>
        <pc:spChg chg="add del mod">
          <ac:chgData name="Liang Yang" userId="7a7c13a3-d26c-494d-9577-22c5c3f8a804" providerId="ADAL" clId="{F9BD9BDC-E3A3-481D-AB34-D332F61F93E2}" dt="2024-05-13T15:19:59.712" v="1778" actId="478"/>
          <ac:spMkLst>
            <pc:docMk/>
            <pc:sldMasterMk cId="49487577" sldId="2147483648"/>
            <ac:spMk id="8" creationId="{F39750A2-8D12-439D-FBF1-2719D2DC761D}"/>
          </ac:spMkLst>
        </pc:spChg>
        <pc:spChg chg="mod">
          <ac:chgData name="Liang Yang" userId="7a7c13a3-d26c-494d-9577-22c5c3f8a804" providerId="ADAL" clId="{F9BD9BDC-E3A3-481D-AB34-D332F61F93E2}" dt="2024-05-13T15:16:19.468" v="1631" actId="1076"/>
          <ac:spMkLst>
            <pc:docMk/>
            <pc:sldMasterMk cId="49487577" sldId="2147483648"/>
            <ac:spMk id="12" creationId="{B834E456-D499-AB47-AD23-1C93058AD751}"/>
          </ac:spMkLst>
        </pc:spChg>
        <pc:sldLayoutChg chg="addSp delSp modSp mod">
          <pc:chgData name="Liang Yang" userId="7a7c13a3-d26c-494d-9577-22c5c3f8a804" providerId="ADAL" clId="{F9BD9BDC-E3A3-481D-AB34-D332F61F93E2}" dt="2024-05-13T15:19:47.774" v="1777" actId="1076"/>
          <pc:sldLayoutMkLst>
            <pc:docMk/>
            <pc:sldMasterMk cId="49487577" sldId="2147483648"/>
            <pc:sldLayoutMk cId="2093620214" sldId="2147483650"/>
          </pc:sldLayoutMkLst>
          <pc:spChg chg="del">
            <ac:chgData name="Liang Yang" userId="7a7c13a3-d26c-494d-9577-22c5c3f8a804" providerId="ADAL" clId="{F9BD9BDC-E3A3-481D-AB34-D332F61F93E2}" dt="2024-05-13T15:17:11.261" v="1643"/>
            <ac:spMkLst>
              <pc:docMk/>
              <pc:sldMasterMk cId="49487577" sldId="2147483648"/>
              <pc:sldLayoutMk cId="2093620214" sldId="2147483650"/>
              <ac:spMk id="2" creationId="{2954C4D4-802E-2347-A4FC-6A9012223A0F}"/>
            </ac:spMkLst>
          </pc:spChg>
          <pc:spChg chg="add mod">
            <ac:chgData name="Liang Yang" userId="7a7c13a3-d26c-494d-9577-22c5c3f8a804" providerId="ADAL" clId="{F9BD9BDC-E3A3-481D-AB34-D332F61F93E2}" dt="2024-05-13T15:17:11.790" v="1645" actId="948"/>
            <ac:spMkLst>
              <pc:docMk/>
              <pc:sldMasterMk cId="49487577" sldId="2147483648"/>
              <pc:sldLayoutMk cId="2093620214" sldId="2147483650"/>
              <ac:spMk id="4" creationId="{760F58DD-D08C-FCFA-D7B4-AB31695DD837}"/>
            </ac:spMkLst>
          </pc:spChg>
          <pc:spChg chg="add del mod modVis">
            <ac:chgData name="Liang Yang" userId="7a7c13a3-d26c-494d-9577-22c5c3f8a804" providerId="ADAL" clId="{F9BD9BDC-E3A3-481D-AB34-D332F61F93E2}" dt="2024-05-13T15:17:11.823" v="1669"/>
            <ac:spMkLst>
              <pc:docMk/>
              <pc:sldMasterMk cId="49487577" sldId="2147483648"/>
              <pc:sldLayoutMk cId="2093620214" sldId="2147483650"/>
              <ac:spMk id="5" creationId="{9394A54F-BD7A-4FD2-F9B7-F03989BB0A4D}"/>
            </ac:spMkLst>
          </pc:spChg>
          <pc:spChg chg="add del">
            <ac:chgData name="Liang Yang" userId="7a7c13a3-d26c-494d-9577-22c5c3f8a804" providerId="ADAL" clId="{F9BD9BDC-E3A3-481D-AB34-D332F61F93E2}" dt="2024-05-13T15:17:29.950" v="1685" actId="11529"/>
            <ac:spMkLst>
              <pc:docMk/>
              <pc:sldMasterMk cId="49487577" sldId="2147483648"/>
              <pc:sldLayoutMk cId="2093620214" sldId="2147483650"/>
              <ac:spMk id="7" creationId="{C0B6317D-EDBE-6C70-49B9-732DBA5FBFE8}"/>
            </ac:spMkLst>
          </pc:spChg>
          <pc:spChg chg="add mod">
            <ac:chgData name="Liang Yang" userId="7a7c13a3-d26c-494d-9577-22c5c3f8a804" providerId="ADAL" clId="{F9BD9BDC-E3A3-481D-AB34-D332F61F93E2}" dt="2024-05-13T15:19:47.774" v="1777" actId="1076"/>
            <ac:spMkLst>
              <pc:docMk/>
              <pc:sldMasterMk cId="49487577" sldId="2147483648"/>
              <pc:sldLayoutMk cId="2093620214" sldId="2147483650"/>
              <ac:spMk id="8" creationId="{B3AEC9B0-81D6-F91C-937A-8634CC79585A}"/>
            </ac:spMkLst>
          </pc:spChg>
          <pc:graphicFrameChg chg="add mod ord modVis replST">
            <ac:chgData name="Liang Yang" userId="7a7c13a3-d26c-494d-9577-22c5c3f8a804" providerId="ADAL" clId="{F9BD9BDC-E3A3-481D-AB34-D332F61F93E2}" dt="2024-05-13T15:17:11.995" v="1684"/>
            <ac:graphicFrameMkLst>
              <pc:docMk/>
              <pc:sldMasterMk cId="49487577" sldId="2147483648"/>
              <pc:sldLayoutMk cId="2093620214" sldId="2147483650"/>
              <ac:graphicFrameMk id="6" creationId="{DA3A37F0-8B88-4AEB-DFA5-E224027BA2E5}"/>
            </ac:graphicFrameMkLst>
          </pc:graphicFrame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E147CF-F9B3-2D4C-83C1-3079015A55C7}" type="datetimeFigureOut">
              <a:rPr kumimoji="1" lang="zh-CN" altLang="en-US" smtClean="0"/>
              <a:t>2024/7/7</a:t>
            </a:fld>
            <a:endParaRPr kumimoji="1"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en-US" altLang="zh-CN"/>
              <a:t>Click to edit Master text styles</a:t>
            </a:r>
          </a:p>
          <a:p>
            <a:pPr lvl="1"/>
            <a:r>
              <a:rPr kumimoji="1" lang="en-US" altLang="zh-CN"/>
              <a:t>Second level</a:t>
            </a:r>
          </a:p>
          <a:p>
            <a:pPr lvl="2"/>
            <a:r>
              <a:rPr kumimoji="1" lang="en-US" altLang="zh-CN"/>
              <a:t>Third level</a:t>
            </a:r>
          </a:p>
          <a:p>
            <a:pPr lvl="3"/>
            <a:r>
              <a:rPr kumimoji="1" lang="en-US" altLang="zh-CN"/>
              <a:t>Fourth level</a:t>
            </a:r>
          </a:p>
          <a:p>
            <a:pPr lvl="4"/>
            <a:r>
              <a:rPr kumimoji="1" lang="en-US" altLang="zh-CN"/>
              <a:t>Fifth level</a:t>
            </a:r>
            <a:endParaRPr kumimoji="1"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ADFA6F-F315-C54A-B0F3-165B14F5CDC7}" type="slidenum">
              <a:rPr kumimoji="1" lang="zh-CN" altLang="en-US" smtClean="0"/>
              <a:t>‹#›</a:t>
            </a:fld>
            <a:endParaRPr kumimoji="1" lang="zh-CN" altLang="en-US"/>
          </a:p>
        </p:txBody>
      </p:sp>
    </p:spTree>
    <p:extLst>
      <p:ext uri="{BB962C8B-B14F-4D97-AF65-F5344CB8AC3E}">
        <p14:creationId xmlns:p14="http://schemas.microsoft.com/office/powerpoint/2010/main" val="3480888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This project aims to </a:t>
            </a:r>
            <a:r>
              <a:rPr lang="en-US" sz="1200" dirty="0" err="1"/>
              <a:t>Fortif</a:t>
            </a:r>
            <a:r>
              <a:rPr lang="en-US" sz="1200" dirty="0"/>
              <a:t> Climate Resilience in Ecuador's Coastal Cities through Empowering National Meteorological and Hydrological Service. </a:t>
            </a:r>
            <a:endParaRPr lang="zh-CN" altLang="en-US" dirty="0"/>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2</a:t>
            </a:fld>
            <a:endParaRPr kumimoji="1" lang="zh-CN" altLang="en-US"/>
          </a:p>
        </p:txBody>
      </p:sp>
    </p:spTree>
    <p:extLst>
      <p:ext uri="{BB962C8B-B14F-4D97-AF65-F5344CB8AC3E}">
        <p14:creationId xmlns:p14="http://schemas.microsoft.com/office/powerpoint/2010/main" val="10360929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has been a very different 6 months in term of experiences, we have encountered and conquered a lot of difficulties to make the project look like what it is today. At the beginning, there is some miscommunication, so I didn’t work directly to this model, which wasted me some time. But after I started to work on this model, thanks to the help from both my colleagues of PNUD and those from INAMHI, I could learn a lot of new things and get these hands-on experience to develop something from scratch. Although there are still some existing problems and limitations, I believe it will be a helpful cornerstone of this project and contribute to the improvement of people’s life in Esmeraldas.</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11</a:t>
            </a:fld>
            <a:endParaRPr kumimoji="1" lang="zh-CN" altLang="en-US"/>
          </a:p>
        </p:txBody>
      </p:sp>
    </p:spTree>
    <p:extLst>
      <p:ext uri="{BB962C8B-B14F-4D97-AF65-F5344CB8AC3E}">
        <p14:creationId xmlns:p14="http://schemas.microsoft.com/office/powerpoint/2010/main" val="3354810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12</a:t>
            </a:fld>
            <a:endParaRPr kumimoji="1" lang="zh-CN" altLang="en-US"/>
          </a:p>
        </p:txBody>
      </p:sp>
    </p:spTree>
    <p:extLst>
      <p:ext uri="{BB962C8B-B14F-4D97-AF65-F5344CB8AC3E}">
        <p14:creationId xmlns:p14="http://schemas.microsoft.com/office/powerpoint/2010/main" val="1341092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Under the influence of </a:t>
            </a:r>
            <a:r>
              <a:rPr lang="en-US" altLang="zh-CN" dirty="0" err="1"/>
              <a:t>el</a:t>
            </a:r>
            <a:r>
              <a:rPr lang="en-US" altLang="zh-CN" dirty="0"/>
              <a:t> </a:t>
            </a:r>
            <a:r>
              <a:rPr lang="en-US" altLang="zh-CN" dirty="0" err="1"/>
              <a:t>nino</a:t>
            </a:r>
            <a:r>
              <a:rPr lang="en-US" altLang="zh-CN" dirty="0"/>
              <a:t>. This area is becoming more and more humid</a:t>
            </a:r>
            <a:endParaRPr lang="zh-CN" altLang="en-US" dirty="0"/>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3</a:t>
            </a:fld>
            <a:endParaRPr kumimoji="1" lang="zh-CN" altLang="en-US"/>
          </a:p>
        </p:txBody>
      </p:sp>
    </p:spTree>
    <p:extLst>
      <p:ext uri="{BB962C8B-B14F-4D97-AF65-F5344CB8AC3E}">
        <p14:creationId xmlns:p14="http://schemas.microsoft.com/office/powerpoint/2010/main" val="3171963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Explain why did we make the transition from numeric (abstract the natural climate process and turn them into equations and models) to data-driven</a:t>
            </a:r>
          </a:p>
          <a:p>
            <a:r>
              <a:rPr lang="en-US" altLang="zh-CN" dirty="0"/>
              <a:t>From the input to the output, Too many parameters and process to include and simulate</a:t>
            </a:r>
          </a:p>
          <a:p>
            <a:r>
              <a:rPr lang="en-US" altLang="zh-CN" dirty="0"/>
              <a:t>From the output to the output, just let AI do the learning of the output, no need to understand the principles of the climate process</a:t>
            </a:r>
          </a:p>
          <a:p>
            <a:r>
              <a:rPr lang="en-US" altLang="zh-CN" dirty="0"/>
              <a:t>More efficient and easy</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4</a:t>
            </a:fld>
            <a:endParaRPr kumimoji="1" lang="zh-CN" altLang="en-US"/>
          </a:p>
        </p:txBody>
      </p:sp>
    </p:spTree>
    <p:extLst>
      <p:ext uri="{BB962C8B-B14F-4D97-AF65-F5344CB8AC3E}">
        <p14:creationId xmlns:p14="http://schemas.microsoft.com/office/powerpoint/2010/main" val="446072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ot only with the limited sensor data, we’ll have to include more sources of input data to enhance its performance.</a:t>
            </a:r>
          </a:p>
          <a:p>
            <a:r>
              <a:rPr lang="en-US" altLang="zh-CN" dirty="0"/>
              <a:t>By combining satellite cloud image data from open sources, we in total collected more than 3000 features for the AI model to learn.</a:t>
            </a:r>
          </a:p>
          <a:p>
            <a:r>
              <a:rPr lang="en-US" altLang="zh-CN" dirty="0"/>
              <a:t>Due to the enormous number of features, we choose random forest as the model to interpret the input.</a:t>
            </a:r>
          </a:p>
          <a:p>
            <a:r>
              <a:rPr lang="en-US" altLang="zh-CN" dirty="0"/>
              <a:t>With the trained model ready, we can input new entries of feature at a 3hourly frequency and produce our forecast accordingly.</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5</a:t>
            </a:fld>
            <a:endParaRPr kumimoji="1" lang="zh-CN" altLang="en-US"/>
          </a:p>
        </p:txBody>
      </p:sp>
    </p:spTree>
    <p:extLst>
      <p:ext uri="{BB962C8B-B14F-4D97-AF65-F5344CB8AC3E}">
        <p14:creationId xmlns:p14="http://schemas.microsoft.com/office/powerpoint/2010/main" val="2088493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But we can’t ignore some basic hydrological nature and just feed the data to the model blindly. Mostly it will be garbage-in-garbage-out. To filter the garbage, we combine the hydrological computation with the features, to include the dimension of time into the satellite data. We divide the Esmeraldas river basin into 10 different segments according to their hydrological distance to our target point of prediction – the</a:t>
            </a:r>
            <a:r>
              <a:rPr lang="zh-CN" altLang="en-US" dirty="0"/>
              <a:t> </a:t>
            </a:r>
            <a:r>
              <a:rPr lang="en-US" altLang="zh-CN" dirty="0"/>
              <a:t>San</a:t>
            </a:r>
            <a:r>
              <a:rPr lang="zh-CN" altLang="en-US" dirty="0"/>
              <a:t> </a:t>
            </a:r>
            <a:r>
              <a:rPr lang="en-US" altLang="zh-CN" dirty="0"/>
              <a:t>Mateo</a:t>
            </a:r>
            <a:r>
              <a:rPr lang="zh-CN" altLang="en-US" dirty="0"/>
              <a:t> </a:t>
            </a:r>
            <a:r>
              <a:rPr lang="en-US" altLang="zh-CN" dirty="0"/>
              <a:t>station.</a:t>
            </a:r>
          </a:p>
          <a:p>
            <a:endParaRPr lang="en-US" altLang="zh-CN" dirty="0"/>
          </a:p>
          <a:p>
            <a:r>
              <a:rPr lang="en-US" altLang="zh-CN" dirty="0"/>
              <a:t>Intuitively, the further the precipitation is, the later it would affect the river level at its lower basin.</a:t>
            </a:r>
          </a:p>
          <a:p>
            <a:endParaRPr lang="en-US" altLang="zh-CN" dirty="0"/>
          </a:p>
          <a:p>
            <a:r>
              <a:rPr lang="en-US" altLang="zh-CN" dirty="0"/>
              <a:t>According to this division of basin, we divide the pixels of cloud image to 10 groups. We use different lags of those groups accordingly to construct the features.</a:t>
            </a:r>
          </a:p>
          <a:p>
            <a:endParaRPr lang="en-US" altLang="zh-CN" dirty="0"/>
          </a:p>
          <a:p>
            <a:r>
              <a:rPr lang="en-US" altLang="zh-CN" dirty="0"/>
              <a:t>In this way we can make sure the features we feed to the model is reasonable.</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6</a:t>
            </a:fld>
            <a:endParaRPr kumimoji="1" lang="zh-CN" altLang="en-US"/>
          </a:p>
        </p:txBody>
      </p:sp>
    </p:spTree>
    <p:extLst>
      <p:ext uri="{BB962C8B-B14F-4D97-AF65-F5344CB8AC3E}">
        <p14:creationId xmlns:p14="http://schemas.microsoft.com/office/powerpoint/2010/main" val="3901302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US" altLang="zh-CN" dirty="0"/>
              <a:t>To</a:t>
            </a:r>
            <a:r>
              <a:rPr kumimoji="1" lang="zh-CN" altLang="en-US" dirty="0"/>
              <a:t> </a:t>
            </a:r>
            <a:r>
              <a:rPr kumimoji="1" lang="en-US" altLang="zh-CN" dirty="0"/>
              <a:t>demonstrate:</a:t>
            </a:r>
            <a:r>
              <a:rPr kumimoji="1" lang="zh-CN" altLang="en-US" dirty="0"/>
              <a:t> </a:t>
            </a:r>
            <a:r>
              <a:rPr kumimoji="1" lang="en-US" altLang="zh-CN" dirty="0"/>
              <a:t>how</a:t>
            </a:r>
            <a:r>
              <a:rPr kumimoji="1" lang="zh-CN" altLang="en-US" dirty="0"/>
              <a:t> </a:t>
            </a:r>
            <a:r>
              <a:rPr kumimoji="1" lang="en-US" altLang="zh-CN" dirty="0"/>
              <a:t>do we determine the value of the lag?</a:t>
            </a:r>
          </a:p>
          <a:p>
            <a:r>
              <a:rPr kumimoji="1" lang="en-US" altLang="zh-CN" dirty="0"/>
              <a:t>To illustrate the fundamental idea of decision tree. Why do we choose it?</a:t>
            </a:r>
          </a:p>
          <a:p>
            <a:endParaRPr kumimoji="1" lang="en-US" altLang="zh-CN" dirty="0"/>
          </a:p>
          <a:p>
            <a:r>
              <a:rPr kumimoji="1" lang="en-US" altLang="zh-CN" dirty="0"/>
              <a:t>After we construct the features, we have to feed the features into an AI model to let it learn from the past and help us to predict the future.</a:t>
            </a:r>
          </a:p>
          <a:p>
            <a:r>
              <a:rPr kumimoji="1" lang="en-US" altLang="zh-CN" dirty="0"/>
              <a:t>Among all the sophisticated models we chose random forest. </a:t>
            </a:r>
          </a:p>
          <a:p>
            <a:endParaRPr kumimoji="1" lang="en-US" altLang="zh-CN" dirty="0"/>
          </a:p>
          <a:p>
            <a:r>
              <a:rPr kumimoji="1" lang="en-US" altLang="zh-CN" dirty="0"/>
              <a:t>A random forest is made of multiple trees, and they are actually decision trees. If you don’t know what is a decision tree, in this graph, each level represents a feature, and we consider all the features level by level. If we have multiple decision trees sampled randomly, then we formulated the random forest.</a:t>
            </a:r>
          </a:p>
          <a:p>
            <a:endParaRPr kumimoji="1" lang="en-US" altLang="zh-CN" dirty="0"/>
          </a:p>
          <a:p>
            <a:r>
              <a:rPr kumimoji="1" lang="en-US" altLang="zh-CN" dirty="0"/>
              <a:t>It’s like asking multiple experts about the same problem: what the river level at San Mateo will be in 3 hours? Each decision tree is given randomly sampled features to consider (because we have more than 3000 features, it’s a good way to reduce the complexity of computation), and with randomly chosen samples for reference. At the end, we consolidate all the prediction results by multiple experts together to get the final outcome of our model.</a:t>
            </a:r>
          </a:p>
          <a:p>
            <a:endParaRPr kumimoji="1" lang="en-US" altLang="zh-CN" dirty="0"/>
          </a:p>
          <a:p>
            <a:r>
              <a:rPr kumimoji="1" lang="en-US" altLang="zh-CN" dirty="0"/>
              <a:t>But during the training of random forest, there are lot of hyperparameters to be decided. For example the number of trees and the maximum of levels of each tree, for these </a:t>
            </a:r>
            <a:r>
              <a:rPr kumimoji="1" lang="en-US" altLang="zh-CN" dirty="0" err="1"/>
              <a:t>hyperparamters</a:t>
            </a:r>
            <a:r>
              <a:rPr kumimoji="1" lang="en-US" altLang="zh-CN" dirty="0"/>
              <a:t>,  we have to conduct a grid search of each combination of those parameters, which makes the training take much more time than a single training.</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7</a:t>
            </a:fld>
            <a:endParaRPr kumimoji="1" lang="zh-CN" altLang="en-US"/>
          </a:p>
        </p:txBody>
      </p:sp>
    </p:spTree>
    <p:extLst>
      <p:ext uri="{BB962C8B-B14F-4D97-AF65-F5344CB8AC3E}">
        <p14:creationId xmlns:p14="http://schemas.microsoft.com/office/powerpoint/2010/main" val="2556678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US" altLang="zh-CN" dirty="0"/>
              <a:t>After we found out the best combination of hyperparameters, we apply the model with this specific set of parameters to receive the test set data. And here we can tell that the simulated curve fits the general trend with the observed curve, but sometimes it fails to capture the extreme case. Like here for February of this year. So this is also the direction the model could further improved in the future. Since we are working in the risk reduction field, we are supposed to care more about the extreme case where the risk is more likely to be.</a:t>
            </a:r>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8</a:t>
            </a:fld>
            <a:endParaRPr kumimoji="1" lang="zh-CN" altLang="en-US"/>
          </a:p>
        </p:txBody>
      </p:sp>
    </p:spTree>
    <p:extLst>
      <p:ext uri="{BB962C8B-B14F-4D97-AF65-F5344CB8AC3E}">
        <p14:creationId xmlns:p14="http://schemas.microsoft.com/office/powerpoint/2010/main" val="1412616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After finishing the coding of this model itself, it’s even more important to make it accessible and easy to use. If no one uses this model or no one looks at our forecasted result, all the work we done would be meaningless.</a:t>
            </a:r>
          </a:p>
          <a:p>
            <a:endParaRPr lang="en-US" altLang="zh-CN" dirty="0"/>
          </a:p>
          <a:p>
            <a:r>
              <a:rPr lang="en-US" altLang="zh-CN" dirty="0"/>
              <a:t>So we further embedded the result of this model into the previous visor system, so that it could offer reference to the public.</a:t>
            </a:r>
          </a:p>
          <a:p>
            <a:endParaRPr lang="en-US" altLang="zh-CN" dirty="0"/>
          </a:p>
          <a:p>
            <a:r>
              <a:rPr lang="en-US" altLang="zh-CN" dirty="0"/>
              <a:t>But we still need to develop a bulletin generation scheme and try our best to make the useful information to be heard by the beneficiary public.</a:t>
            </a:r>
            <a:endParaRPr lang="zh-CN" altLang="en-US" dirty="0"/>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9</a:t>
            </a:fld>
            <a:endParaRPr kumimoji="1" lang="zh-CN" altLang="en-US"/>
          </a:p>
        </p:txBody>
      </p:sp>
    </p:spTree>
    <p:extLst>
      <p:ext uri="{BB962C8B-B14F-4D97-AF65-F5344CB8AC3E}">
        <p14:creationId xmlns:p14="http://schemas.microsoft.com/office/powerpoint/2010/main" val="3667205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CAADFA6F-F315-C54A-B0F3-165B14F5CDC7}" type="slidenum">
              <a:rPr kumimoji="1" lang="zh-CN" altLang="en-US" smtClean="0"/>
              <a:t>10</a:t>
            </a:fld>
            <a:endParaRPr kumimoji="1" lang="zh-CN" altLang="en-US"/>
          </a:p>
        </p:txBody>
      </p:sp>
    </p:spTree>
    <p:extLst>
      <p:ext uri="{BB962C8B-B14F-4D97-AF65-F5344CB8AC3E}">
        <p14:creationId xmlns:p14="http://schemas.microsoft.com/office/powerpoint/2010/main" val="2246221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2289DC-5D40-8742-B358-B5C906D0546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19897BB-544F-DB40-916D-E699BFE8973C}"/>
              </a:ext>
            </a:extLst>
          </p:cNvPr>
          <p:cNvSpPr>
            <a:spLocks noGrp="1"/>
          </p:cNvSpPr>
          <p:nvPr>
            <p:ph type="ctrTitle"/>
          </p:nvPr>
        </p:nvSpPr>
        <p:spPr>
          <a:xfrm>
            <a:off x="1215082" y="3031435"/>
            <a:ext cx="10831144" cy="1022224"/>
          </a:xfrm>
        </p:spPr>
        <p:txBody>
          <a:bodyPr anchor="b"/>
          <a:lstStyle>
            <a:lvl1pPr algn="l">
              <a:defRPr sz="6000"/>
            </a:lvl1pPr>
          </a:lstStyle>
          <a:p>
            <a:r>
              <a:rPr lang="en-US" dirty="0"/>
              <a:t>Click to edit Master title style</a:t>
            </a:r>
          </a:p>
        </p:txBody>
      </p:sp>
      <p:sp>
        <p:nvSpPr>
          <p:cNvPr id="3" name="Subtitle 2">
            <a:extLst>
              <a:ext uri="{FF2B5EF4-FFF2-40B4-BE49-F238E27FC236}">
                <a16:creationId xmlns:a16="http://schemas.microsoft.com/office/drawing/2014/main" id="{E7FFFDE2-8BE8-134F-8FBB-D25EA4B1061C}"/>
              </a:ext>
            </a:extLst>
          </p:cNvPr>
          <p:cNvSpPr>
            <a:spLocks noGrp="1"/>
          </p:cNvSpPr>
          <p:nvPr>
            <p:ph type="subTitle" idx="1" hasCustomPrompt="1"/>
          </p:nvPr>
        </p:nvSpPr>
        <p:spPr>
          <a:xfrm>
            <a:off x="1215082" y="4053659"/>
            <a:ext cx="7825947" cy="625474"/>
          </a:xfrm>
        </p:spPr>
        <p:txBody>
          <a:bodyPr anchor="b"/>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A picture containing clock&#10;&#10;Description automatically generated">
            <a:extLst>
              <a:ext uri="{FF2B5EF4-FFF2-40B4-BE49-F238E27FC236}">
                <a16:creationId xmlns:a16="http://schemas.microsoft.com/office/drawing/2014/main" id="{CDAB7A12-C41A-8446-9A14-175BE2A23204}"/>
              </a:ext>
            </a:extLst>
          </p:cNvPr>
          <p:cNvPicPr>
            <a:picLocks noChangeAspect="1"/>
          </p:cNvPicPr>
          <p:nvPr userDrawn="1"/>
        </p:nvPicPr>
        <p:blipFill>
          <a:blip r:embed="rId3"/>
          <a:stretch>
            <a:fillRect/>
          </a:stretch>
        </p:blipFill>
        <p:spPr>
          <a:xfrm>
            <a:off x="10975309" y="456889"/>
            <a:ext cx="637103" cy="1295711"/>
          </a:xfrm>
          <a:prstGeom prst="rect">
            <a:avLst/>
          </a:prstGeom>
        </p:spPr>
      </p:pic>
    </p:spTree>
    <p:extLst>
      <p:ext uri="{BB962C8B-B14F-4D97-AF65-F5344CB8AC3E}">
        <p14:creationId xmlns:p14="http://schemas.microsoft.com/office/powerpoint/2010/main" val="109509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6A90407-D02D-9F49-8A2C-3443310CFDAE}"/>
              </a:ext>
            </a:extLst>
          </p:cNvPr>
          <p:cNvSpPr>
            <a:spLocks noGrp="1"/>
          </p:cNvSpPr>
          <p:nvPr>
            <p:ph type="ctrTitle"/>
          </p:nvPr>
        </p:nvSpPr>
        <p:spPr>
          <a:xfrm>
            <a:off x="1215082" y="3031435"/>
            <a:ext cx="10831144" cy="1022224"/>
          </a:xfrm>
        </p:spPr>
        <p:txBody>
          <a:bodyPr anchor="b"/>
          <a:lstStyle>
            <a:lvl1pPr algn="l">
              <a:defRPr sz="6000">
                <a:solidFill>
                  <a:schemeClr val="bg2">
                    <a:lumMod val="10000"/>
                  </a:schemeClr>
                </a:solidFill>
              </a:defRPr>
            </a:lvl1pPr>
          </a:lstStyle>
          <a:p>
            <a:r>
              <a:rPr lang="en-US" dirty="0"/>
              <a:t>Click to edit Master title style</a:t>
            </a:r>
          </a:p>
        </p:txBody>
      </p:sp>
      <p:sp>
        <p:nvSpPr>
          <p:cNvPr id="4" name="Subtitle 2">
            <a:extLst>
              <a:ext uri="{FF2B5EF4-FFF2-40B4-BE49-F238E27FC236}">
                <a16:creationId xmlns:a16="http://schemas.microsoft.com/office/drawing/2014/main" id="{412AB11C-65A4-2C46-ACEE-025A020E41DD}"/>
              </a:ext>
            </a:extLst>
          </p:cNvPr>
          <p:cNvSpPr>
            <a:spLocks noGrp="1"/>
          </p:cNvSpPr>
          <p:nvPr>
            <p:ph type="subTitle" idx="1" hasCustomPrompt="1"/>
          </p:nvPr>
        </p:nvSpPr>
        <p:spPr>
          <a:xfrm>
            <a:off x="1215082" y="4053659"/>
            <a:ext cx="7825947" cy="625474"/>
          </a:xfrm>
        </p:spPr>
        <p:txBody>
          <a:bodyPr anchor="b"/>
          <a:lstStyle>
            <a:lvl1pPr marL="0" indent="0" algn="l">
              <a:buNone/>
              <a:defRPr sz="2400">
                <a:solidFill>
                  <a:schemeClr val="bg2">
                    <a:lumMod val="1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787948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2289DC-5D40-8742-B358-B5C906D0546E}"/>
              </a:ext>
            </a:extLst>
          </p:cNvPr>
          <p:cNvPicPr>
            <a:picLocks noChangeAspect="1"/>
          </p:cNvPicPr>
          <p:nvPr userDrawn="1"/>
        </p:nvPicPr>
        <p:blipFill>
          <a:blip r:embed="rId2">
            <a:alphaModFix/>
          </a:blip>
          <a:stretch>
            <a:fillRect/>
          </a:stretch>
        </p:blipFill>
        <p:spPr>
          <a:xfrm>
            <a:off x="0" y="0"/>
            <a:ext cx="12192000" cy="6858000"/>
          </a:xfrm>
          <a:prstGeom prst="rect">
            <a:avLst/>
          </a:prstGeom>
        </p:spPr>
      </p:pic>
      <p:pic>
        <p:nvPicPr>
          <p:cNvPr id="4" name="Picture 3" descr="A picture containing clock&#10;&#10;Description automatically generated">
            <a:extLst>
              <a:ext uri="{FF2B5EF4-FFF2-40B4-BE49-F238E27FC236}">
                <a16:creationId xmlns:a16="http://schemas.microsoft.com/office/drawing/2014/main" id="{1BC42665-EE02-5B43-84FB-F5B43CD490AE}"/>
              </a:ext>
            </a:extLst>
          </p:cNvPr>
          <p:cNvPicPr>
            <a:picLocks noChangeAspect="1"/>
          </p:cNvPicPr>
          <p:nvPr userDrawn="1"/>
        </p:nvPicPr>
        <p:blipFill>
          <a:blip r:embed="rId3"/>
          <a:stretch>
            <a:fillRect/>
          </a:stretch>
        </p:blipFill>
        <p:spPr>
          <a:xfrm>
            <a:off x="5486898" y="2190236"/>
            <a:ext cx="1218203" cy="2477527"/>
          </a:xfrm>
          <a:prstGeom prst="rect">
            <a:avLst/>
          </a:prstGeom>
        </p:spPr>
      </p:pic>
    </p:spTree>
    <p:extLst>
      <p:ext uri="{BB962C8B-B14F-4D97-AF65-F5344CB8AC3E}">
        <p14:creationId xmlns:p14="http://schemas.microsoft.com/office/powerpoint/2010/main" val="2725882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A5B008-0300-494D-8CC7-50F4AE8D4D36}"/>
              </a:ext>
            </a:extLst>
          </p:cNvPr>
          <p:cNvPicPr>
            <a:picLocks noChangeAspect="1"/>
          </p:cNvPicPr>
          <p:nvPr userDrawn="1"/>
        </p:nvPicPr>
        <p:blipFill>
          <a:blip r:embed="rId2">
            <a:alphaModFix amt="75000"/>
          </a:blip>
          <a:stretch>
            <a:fillRect/>
          </a:stretch>
        </p:blipFill>
        <p:spPr>
          <a:xfrm>
            <a:off x="0" y="0"/>
            <a:ext cx="12192000" cy="6858000"/>
          </a:xfrm>
          <a:prstGeom prst="rect">
            <a:avLst/>
          </a:prstGeom>
          <a:noFill/>
        </p:spPr>
      </p:pic>
      <p:sp>
        <p:nvSpPr>
          <p:cNvPr id="9" name="Title 1">
            <a:extLst>
              <a:ext uri="{FF2B5EF4-FFF2-40B4-BE49-F238E27FC236}">
                <a16:creationId xmlns:a16="http://schemas.microsoft.com/office/drawing/2014/main" id="{F35618AC-FCE5-9545-A06C-F73B94FCF4F5}"/>
              </a:ext>
            </a:extLst>
          </p:cNvPr>
          <p:cNvSpPr>
            <a:spLocks noGrp="1"/>
          </p:cNvSpPr>
          <p:nvPr>
            <p:ph type="ctrTitle"/>
          </p:nvPr>
        </p:nvSpPr>
        <p:spPr>
          <a:xfrm>
            <a:off x="1215082" y="3031435"/>
            <a:ext cx="10831144" cy="1022224"/>
          </a:xfrm>
          <a:prstGeom prst="rect">
            <a:avLst/>
          </a:prstGeom>
        </p:spPr>
        <p:txBody>
          <a:bodyPr anchor="b"/>
          <a:lstStyle>
            <a:lvl1pPr algn="l">
              <a:defRPr sz="6000"/>
            </a:lvl1pPr>
          </a:lstStyle>
          <a:p>
            <a:r>
              <a:rPr lang="en-US" dirty="0"/>
              <a:t>Click to edit Master title style</a:t>
            </a:r>
          </a:p>
        </p:txBody>
      </p:sp>
      <p:sp>
        <p:nvSpPr>
          <p:cNvPr id="10" name="Subtitle 2">
            <a:extLst>
              <a:ext uri="{FF2B5EF4-FFF2-40B4-BE49-F238E27FC236}">
                <a16:creationId xmlns:a16="http://schemas.microsoft.com/office/drawing/2014/main" id="{9972E17F-73DC-4E47-B357-39CB55DCC1AA}"/>
              </a:ext>
            </a:extLst>
          </p:cNvPr>
          <p:cNvSpPr>
            <a:spLocks noGrp="1"/>
          </p:cNvSpPr>
          <p:nvPr>
            <p:ph type="subTitle" idx="1" hasCustomPrompt="1"/>
          </p:nvPr>
        </p:nvSpPr>
        <p:spPr>
          <a:xfrm>
            <a:off x="1215082" y="4053659"/>
            <a:ext cx="7825947" cy="625474"/>
          </a:xfrm>
        </p:spPr>
        <p:txBody>
          <a:bodyPr anchor="b"/>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A picture containing ball, player, drawing, food&#10;&#10;Description automatically generated">
            <a:extLst>
              <a:ext uri="{FF2B5EF4-FFF2-40B4-BE49-F238E27FC236}">
                <a16:creationId xmlns:a16="http://schemas.microsoft.com/office/drawing/2014/main" id="{27973F4C-9B19-5E43-8911-9A9038271613}"/>
              </a:ext>
            </a:extLst>
          </p:cNvPr>
          <p:cNvPicPr>
            <a:picLocks noChangeAspect="1"/>
          </p:cNvPicPr>
          <p:nvPr userDrawn="1"/>
        </p:nvPicPr>
        <p:blipFill>
          <a:blip r:embed="rId3"/>
          <a:stretch>
            <a:fillRect/>
          </a:stretch>
        </p:blipFill>
        <p:spPr>
          <a:xfrm>
            <a:off x="10971629" y="456106"/>
            <a:ext cx="639857" cy="1300973"/>
          </a:xfrm>
          <a:prstGeom prst="rect">
            <a:avLst/>
          </a:prstGeom>
        </p:spPr>
      </p:pic>
    </p:spTree>
    <p:extLst>
      <p:ext uri="{BB962C8B-B14F-4D97-AF65-F5344CB8AC3E}">
        <p14:creationId xmlns:p14="http://schemas.microsoft.com/office/powerpoint/2010/main" val="554888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DEB64-C0C7-6C43-B1A2-51C21FE16E12}"/>
              </a:ext>
            </a:extLst>
          </p:cNvPr>
          <p:cNvSpPr>
            <a:spLocks noGrp="1"/>
          </p:cNvSpPr>
          <p:nvPr>
            <p:ph type="title"/>
          </p:nvPr>
        </p:nvSpPr>
        <p:spPr>
          <a:xfrm>
            <a:off x="440635" y="88279"/>
            <a:ext cx="10515600" cy="1005026"/>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F9E65FCF-499D-6E45-B3AF-F414ABF505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772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621F9-4398-B14F-B02F-EFA3BCAC7FE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6C7F5E4-EAD3-8B42-9885-D7319185C8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482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09CEA-A734-4A44-92E3-56758F5C5B92}"/>
              </a:ext>
            </a:extLst>
          </p:cNvPr>
          <p:cNvSpPr>
            <a:spLocks noGrp="1"/>
          </p:cNvSpPr>
          <p:nvPr>
            <p:ph type="title"/>
          </p:nvPr>
        </p:nvSpPr>
        <p:spPr>
          <a:xfrm>
            <a:off x="440635" y="88279"/>
            <a:ext cx="10515600" cy="1005026"/>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4AA4D1F-F0BD-8B43-9624-DE52BC95A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626995-C0D3-1C4D-B316-C55A678E7B9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25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D3F0D6-21E2-AD40-ADB2-86E6C0E8D2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4DB3F4-A41E-B74E-81FF-2CE011381D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FB1B4E-770D-634E-8CC9-C8F7CDB0E1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71D713-21DD-7344-87D9-DD08DE31027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7333EC3E-0F82-FA49-928B-1093BF6AB116}"/>
              </a:ext>
            </a:extLst>
          </p:cNvPr>
          <p:cNvSpPr>
            <a:spLocks noGrp="1"/>
          </p:cNvSpPr>
          <p:nvPr>
            <p:ph type="title"/>
          </p:nvPr>
        </p:nvSpPr>
        <p:spPr>
          <a:xfrm>
            <a:off x="440635" y="88279"/>
            <a:ext cx="10515600" cy="100502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518945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0183A-87FA-904B-B8FC-31D5F4DD7F7E}"/>
              </a:ext>
            </a:extLst>
          </p:cNvPr>
          <p:cNvSpPr>
            <a:spLocks noGrp="1"/>
          </p:cNvSpPr>
          <p:nvPr>
            <p:ph type="title"/>
          </p:nvPr>
        </p:nvSpPr>
        <p:spPr>
          <a:xfrm>
            <a:off x="440635" y="88279"/>
            <a:ext cx="10515600" cy="100502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15292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7420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F9904-060E-9243-9D0A-72C1077A0F60}"/>
              </a:ext>
            </a:extLst>
          </p:cNvPr>
          <p:cNvSpPr>
            <a:spLocks noGrp="1"/>
          </p:cNvSpPr>
          <p:nvPr>
            <p:ph idx="1"/>
          </p:nvPr>
        </p:nvSpPr>
        <p:spPr>
          <a:xfrm>
            <a:off x="5180012" y="1526381"/>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16642856-C495-1740-834F-9EEB4CA77862}"/>
              </a:ext>
            </a:extLst>
          </p:cNvPr>
          <p:cNvSpPr>
            <a:spLocks noGrp="1"/>
          </p:cNvSpPr>
          <p:nvPr>
            <p:ph type="body" sz="half" idx="2"/>
          </p:nvPr>
        </p:nvSpPr>
        <p:spPr>
          <a:xfrm>
            <a:off x="839788" y="1526381"/>
            <a:ext cx="3932237" cy="434260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430592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3A37F0-8B88-4AEB-DFA5-E224027BA2E5}"/>
              </a:ext>
            </a:extLst>
          </p:cNvPr>
          <p:cNvGraphicFramePr>
            <a:graphicFrameLocks noChangeAspect="1"/>
          </p:cNvGraphicFramePr>
          <p:nvPr userDrawn="1">
            <p:custDataLst>
              <p:tags r:id="rId1"/>
            </p:custDataLst>
            <p:extLst>
              <p:ext uri="{D42A27DB-BD31-4B8C-83A1-F6EECF244321}">
                <p14:modId xmlns:p14="http://schemas.microsoft.com/office/powerpoint/2010/main" val="3776894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6" name="think-cell data - do not delete" hidden="1">
                        <a:extLst>
                          <a:ext uri="{FF2B5EF4-FFF2-40B4-BE49-F238E27FC236}">
                            <a16:creationId xmlns:a16="http://schemas.microsoft.com/office/drawing/2014/main" id="{DA3A37F0-8B88-4AEB-DFA5-E224027B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225BFDC-A994-AD4B-8006-8BE297E198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760F58DD-D08C-FCFA-D7B4-AB31695DD837}"/>
              </a:ext>
            </a:extLst>
          </p:cNvPr>
          <p:cNvSpPr>
            <a:spLocks noGrp="1"/>
          </p:cNvSpPr>
          <p:nvPr>
            <p:ph type="title"/>
          </p:nvPr>
        </p:nvSpPr>
        <p:spPr/>
        <p:txBody>
          <a:bodyPr vert="horz"/>
          <a:lstStyle/>
          <a:p>
            <a:r>
              <a:rPr lang="en-US"/>
              <a:t>Click to edit Master title style</a:t>
            </a:r>
          </a:p>
        </p:txBody>
      </p:sp>
      <p:sp>
        <p:nvSpPr>
          <p:cNvPr id="8" name="Text Placeholder 7">
            <a:extLst>
              <a:ext uri="{FF2B5EF4-FFF2-40B4-BE49-F238E27FC236}">
                <a16:creationId xmlns:a16="http://schemas.microsoft.com/office/drawing/2014/main" id="{B3AEC9B0-81D6-F91C-937A-8634CC79585A}"/>
              </a:ext>
            </a:extLst>
          </p:cNvPr>
          <p:cNvSpPr>
            <a:spLocks noGrp="1"/>
          </p:cNvSpPr>
          <p:nvPr>
            <p:ph type="body" sz="quarter" idx="10" hasCustomPrompt="1"/>
          </p:nvPr>
        </p:nvSpPr>
        <p:spPr>
          <a:xfrm>
            <a:off x="838200" y="6525157"/>
            <a:ext cx="4914900" cy="222065"/>
          </a:xfrm>
        </p:spPr>
        <p:txBody>
          <a:bodyPr>
            <a:noAutofit/>
          </a:bodyPr>
          <a:lstStyle>
            <a:lvl1pPr marL="0" indent="0">
              <a:buNone/>
              <a:defRPr sz="1050"/>
            </a:lvl1pPr>
          </a:lstStyle>
          <a:p>
            <a:pPr lvl="0"/>
            <a:r>
              <a:rPr lang="en-US" dirty="0"/>
              <a:t>Source:</a:t>
            </a:r>
          </a:p>
        </p:txBody>
      </p:sp>
    </p:spTree>
    <p:extLst>
      <p:ext uri="{BB962C8B-B14F-4D97-AF65-F5344CB8AC3E}">
        <p14:creationId xmlns:p14="http://schemas.microsoft.com/office/powerpoint/2010/main" val="20936202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4DC307-33D6-2F4C-BE6C-9B3D37B57E9C}"/>
              </a:ext>
            </a:extLst>
          </p:cNvPr>
          <p:cNvSpPr>
            <a:spLocks noGrp="1"/>
          </p:cNvSpPr>
          <p:nvPr>
            <p:ph type="pic" idx="1"/>
          </p:nvPr>
        </p:nvSpPr>
        <p:spPr>
          <a:xfrm>
            <a:off x="5183188" y="1580322"/>
            <a:ext cx="6172200" cy="428072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86DAB67-A291-1945-B3C2-A6150D8EC892}"/>
              </a:ext>
            </a:extLst>
          </p:cNvPr>
          <p:cNvSpPr>
            <a:spLocks noGrp="1"/>
          </p:cNvSpPr>
          <p:nvPr>
            <p:ph type="body" sz="half" idx="2"/>
          </p:nvPr>
        </p:nvSpPr>
        <p:spPr>
          <a:xfrm>
            <a:off x="839788" y="1580322"/>
            <a:ext cx="3932237" cy="428866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868693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4537C3-8C67-D940-A567-1C8EDCF8261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descr="A picture containing ball, player, drawing, food&#10;&#10;Description automatically generated">
            <a:extLst>
              <a:ext uri="{FF2B5EF4-FFF2-40B4-BE49-F238E27FC236}">
                <a16:creationId xmlns:a16="http://schemas.microsoft.com/office/drawing/2014/main" id="{0DB4A156-2DB3-1147-B087-6772998E5532}"/>
              </a:ext>
            </a:extLst>
          </p:cNvPr>
          <p:cNvPicPr>
            <a:picLocks noChangeAspect="1"/>
          </p:cNvPicPr>
          <p:nvPr userDrawn="1"/>
        </p:nvPicPr>
        <p:blipFill>
          <a:blip r:embed="rId3"/>
          <a:stretch>
            <a:fillRect/>
          </a:stretch>
        </p:blipFill>
        <p:spPr>
          <a:xfrm>
            <a:off x="5486898" y="2190236"/>
            <a:ext cx="1218203" cy="2476880"/>
          </a:xfrm>
          <a:prstGeom prst="rect">
            <a:avLst/>
          </a:prstGeom>
        </p:spPr>
      </p:pic>
    </p:spTree>
    <p:extLst>
      <p:ext uri="{BB962C8B-B14F-4D97-AF65-F5344CB8AC3E}">
        <p14:creationId xmlns:p14="http://schemas.microsoft.com/office/powerpoint/2010/main" val="3843891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534BF-BA1E-1846-B924-65738778836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5AF2E7-0A7D-B14F-B007-ECC60D07A90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6056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5D329-20D7-5244-9816-8F4658486A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9CACC6-9DDE-4C42-87A0-EC6DDA6B6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577C9A-7AD3-FC4A-AE43-9DBECDB1F21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28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136A5-4EC3-5D40-8022-46415D71FE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B5DD21-82F0-4347-AB80-2B2A91487E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6F27A1-F045-FD42-ACC3-1891D3FEA6F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A3B6B0-4677-8D4A-8F66-6FF3D4FC76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DF6565-EC61-5943-B590-EA91238FE2D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633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60429-474A-124A-AF5F-D5EA76CE6D0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8750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715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33D3FB-3539-C04E-A4E7-3B6421E7320D}"/>
              </a:ext>
            </a:extLst>
          </p:cNvPr>
          <p:cNvSpPr>
            <a:spLocks noGrp="1"/>
          </p:cNvSpPr>
          <p:nvPr>
            <p:ph idx="1"/>
          </p:nvPr>
        </p:nvSpPr>
        <p:spPr>
          <a:xfrm>
            <a:off x="5183188" y="1413089"/>
            <a:ext cx="6172200" cy="44479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16EE39B9-1F22-3849-9230-C29893CEEA3F}"/>
              </a:ext>
            </a:extLst>
          </p:cNvPr>
          <p:cNvSpPr>
            <a:spLocks noGrp="1"/>
          </p:cNvSpPr>
          <p:nvPr>
            <p:ph type="body" sz="half" idx="2"/>
          </p:nvPr>
        </p:nvSpPr>
        <p:spPr>
          <a:xfrm>
            <a:off x="839788" y="1421027"/>
            <a:ext cx="3932237" cy="44479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0513011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1B74AB4-6D80-EB4B-AFBF-5CF857ED5CA3}"/>
              </a:ext>
            </a:extLst>
          </p:cNvPr>
          <p:cNvSpPr>
            <a:spLocks noGrp="1"/>
          </p:cNvSpPr>
          <p:nvPr>
            <p:ph type="pic" idx="1"/>
          </p:nvPr>
        </p:nvSpPr>
        <p:spPr>
          <a:xfrm>
            <a:off x="5183188" y="1462516"/>
            <a:ext cx="6172200" cy="439853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0D8A52-F304-1044-B776-671CDC89CA49}"/>
              </a:ext>
            </a:extLst>
          </p:cNvPr>
          <p:cNvSpPr>
            <a:spLocks noGrp="1"/>
          </p:cNvSpPr>
          <p:nvPr>
            <p:ph type="body" sz="half" idx="2"/>
          </p:nvPr>
        </p:nvSpPr>
        <p:spPr>
          <a:xfrm>
            <a:off x="839788" y="1470454"/>
            <a:ext cx="3932237" cy="439853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158085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4.xml"/><Relationship Id="rId2" Type="http://schemas.openxmlformats.org/officeDocument/2006/relationships/slideLayout" Target="../slideLayouts/slideLayout13.xml"/><Relationship Id="rId16"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7.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2F9891-0D5F-536E-2BE8-2C592C70B5E0}"/>
              </a:ext>
            </a:extLst>
          </p:cNvPr>
          <p:cNvGraphicFramePr>
            <a:graphicFrameLocks noChangeAspect="1"/>
          </p:cNvGraphicFramePr>
          <p:nvPr userDrawn="1">
            <p:custDataLst>
              <p:tags r:id="rId13"/>
            </p:custDataLst>
            <p:extLst>
              <p:ext uri="{D42A27DB-BD31-4B8C-83A1-F6EECF244321}">
                <p14:modId xmlns:p14="http://schemas.microsoft.com/office/powerpoint/2010/main" val="20589373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7B2F9891-0D5F-536E-2BE8-2C592C70B5E0}"/>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910C77-33BF-D743-87B2-BC46CCA5DD87}"/>
              </a:ext>
            </a:extLst>
          </p:cNvPr>
          <p:cNvPicPr>
            <a:picLocks noChangeAspect="1"/>
          </p:cNvPicPr>
          <p:nvPr userDrawn="1"/>
        </p:nvPicPr>
        <p:blipFill>
          <a:blip r:embed="rId16"/>
          <a:stretch>
            <a:fillRect/>
          </a:stretch>
        </p:blipFill>
        <p:spPr>
          <a:xfrm>
            <a:off x="0" y="0"/>
            <a:ext cx="12192000" cy="1168400"/>
          </a:xfrm>
          <a:prstGeom prst="rect">
            <a:avLst/>
          </a:prstGeom>
        </p:spPr>
      </p:pic>
      <p:sp>
        <p:nvSpPr>
          <p:cNvPr id="2" name="Title Placeholder 1">
            <a:extLst>
              <a:ext uri="{FF2B5EF4-FFF2-40B4-BE49-F238E27FC236}">
                <a16:creationId xmlns:a16="http://schemas.microsoft.com/office/drawing/2014/main" id="{7DE6044D-1EB9-FF42-A7C9-DF535F40DACB}"/>
              </a:ext>
            </a:extLst>
          </p:cNvPr>
          <p:cNvSpPr>
            <a:spLocks noGrp="1"/>
          </p:cNvSpPr>
          <p:nvPr>
            <p:ph type="title"/>
          </p:nvPr>
        </p:nvSpPr>
        <p:spPr>
          <a:xfrm>
            <a:off x="430696" y="248478"/>
            <a:ext cx="10515600" cy="810592"/>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51B8E220-7325-B14C-B1BB-009F2909E3A4}"/>
              </a:ext>
            </a:extLst>
          </p:cNvPr>
          <p:cNvSpPr>
            <a:spLocks noGrp="1"/>
          </p:cNvSpPr>
          <p:nvPr>
            <p:ph type="body" idx="1"/>
          </p:nvPr>
        </p:nvSpPr>
        <p:spPr>
          <a:xfrm>
            <a:off x="838200" y="1567207"/>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B834E456-D499-AB47-AD23-1C93058AD751}"/>
              </a:ext>
            </a:extLst>
          </p:cNvPr>
          <p:cNvSpPr txBox="1"/>
          <p:nvPr userDrawn="1"/>
        </p:nvSpPr>
        <p:spPr>
          <a:xfrm>
            <a:off x="5585791" y="6513183"/>
            <a:ext cx="6180731" cy="261610"/>
          </a:xfrm>
          <a:prstGeom prst="rect">
            <a:avLst/>
          </a:prstGeom>
          <a:noFill/>
        </p:spPr>
        <p:txBody>
          <a:bodyPr wrap="square" rtlCol="0">
            <a:spAutoFit/>
          </a:bodyPr>
          <a:lstStyle/>
          <a:p>
            <a:pPr algn="r"/>
            <a:r>
              <a:rPr lang="en-US" sz="1050" b="0" i="0" u="none" strike="noStrike" kern="1200" dirty="0">
                <a:solidFill>
                  <a:schemeClr val="tx1"/>
                </a:solidFill>
                <a:effectLst/>
                <a:latin typeface="+mn-lt"/>
                <a:ea typeface="+mn-ea"/>
                <a:cs typeface="+mn-cs"/>
              </a:rPr>
              <a:t>PROGRAMA DE LAS NACIONES UNIDAS PARA EL DESARROLLO</a:t>
            </a:r>
            <a:endParaRPr lang="en-US" sz="100" b="0" dirty="0">
              <a:solidFill>
                <a:schemeClr val="tx1">
                  <a:alpha val="75000"/>
                </a:schemeClr>
              </a:solidFill>
            </a:endParaRPr>
          </a:p>
        </p:txBody>
      </p:sp>
      <p:pic>
        <p:nvPicPr>
          <p:cNvPr id="5" name="Picture 4" descr="A picture containing clock&#10;&#10;Description automatically generated">
            <a:extLst>
              <a:ext uri="{FF2B5EF4-FFF2-40B4-BE49-F238E27FC236}">
                <a16:creationId xmlns:a16="http://schemas.microsoft.com/office/drawing/2014/main" id="{74CB944C-A913-3F42-B103-DC3E880FF90F}"/>
              </a:ext>
            </a:extLst>
          </p:cNvPr>
          <p:cNvPicPr>
            <a:picLocks noChangeAspect="1"/>
          </p:cNvPicPr>
          <p:nvPr userDrawn="1"/>
        </p:nvPicPr>
        <p:blipFill>
          <a:blip r:embed="rId17"/>
          <a:stretch>
            <a:fillRect/>
          </a:stretch>
        </p:blipFill>
        <p:spPr>
          <a:xfrm>
            <a:off x="11276192" y="83207"/>
            <a:ext cx="485112" cy="986599"/>
          </a:xfrm>
          <a:prstGeom prst="rect">
            <a:avLst/>
          </a:prstGeom>
        </p:spPr>
      </p:pic>
    </p:spTree>
    <p:extLst>
      <p:ext uri="{BB962C8B-B14F-4D97-AF65-F5344CB8AC3E}">
        <p14:creationId xmlns:p14="http://schemas.microsoft.com/office/powerpoint/2010/main" val="494875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72" r:id="rId10"/>
    <p:sldLayoutId id="2147483660" r:id="rId11"/>
  </p:sldLayoutIdLst>
  <p:txStyles>
    <p:title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CAF318-73D9-7D15-EA2C-64AA41BEFBA4}"/>
              </a:ext>
            </a:extLst>
          </p:cNvPr>
          <p:cNvGraphicFramePr>
            <a:graphicFrameLocks noChangeAspect="1"/>
          </p:cNvGraphicFramePr>
          <p:nvPr userDrawn="1">
            <p:custDataLst>
              <p:tags r:id="rId12"/>
            </p:custDataLst>
            <p:extLst>
              <p:ext uri="{D42A27DB-BD31-4B8C-83A1-F6EECF244321}">
                <p14:modId xmlns:p14="http://schemas.microsoft.com/office/powerpoint/2010/main" val="16870174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4" name="think-cell data - do not delete" hidden="1">
                        <a:extLst>
                          <a:ext uri="{FF2B5EF4-FFF2-40B4-BE49-F238E27FC236}">
                            <a16:creationId xmlns:a16="http://schemas.microsoft.com/office/drawing/2014/main" id="{1DCAF318-73D9-7D15-EA2C-64AA41BEFBA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0B126BB-C052-2B43-864C-1221AD1D486E}"/>
              </a:ext>
            </a:extLst>
          </p:cNvPr>
          <p:cNvPicPr>
            <a:picLocks noChangeAspect="1"/>
          </p:cNvPicPr>
          <p:nvPr userDrawn="1"/>
        </p:nvPicPr>
        <p:blipFill>
          <a:blip r:embed="rId15"/>
          <a:stretch>
            <a:fillRect/>
          </a:stretch>
        </p:blipFill>
        <p:spPr>
          <a:xfrm>
            <a:off x="0" y="0"/>
            <a:ext cx="12192000" cy="1168400"/>
          </a:xfrm>
          <a:prstGeom prst="rect">
            <a:avLst/>
          </a:prstGeom>
        </p:spPr>
      </p:pic>
      <p:sp>
        <p:nvSpPr>
          <p:cNvPr id="3" name="Text Placeholder 2">
            <a:extLst>
              <a:ext uri="{FF2B5EF4-FFF2-40B4-BE49-F238E27FC236}">
                <a16:creationId xmlns:a16="http://schemas.microsoft.com/office/drawing/2014/main" id="{0665A9E4-E614-D84D-9314-C67550366B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ball, player, drawing, food&#10;&#10;Description automatically generated">
            <a:extLst>
              <a:ext uri="{FF2B5EF4-FFF2-40B4-BE49-F238E27FC236}">
                <a16:creationId xmlns:a16="http://schemas.microsoft.com/office/drawing/2014/main" id="{C3784482-F066-7240-A0AF-84F9ACBB961B}"/>
              </a:ext>
            </a:extLst>
          </p:cNvPr>
          <p:cNvPicPr>
            <a:picLocks noChangeAspect="1"/>
          </p:cNvPicPr>
          <p:nvPr userDrawn="1"/>
        </p:nvPicPr>
        <p:blipFill>
          <a:blip r:embed="rId16"/>
          <a:stretch>
            <a:fillRect/>
          </a:stretch>
        </p:blipFill>
        <p:spPr>
          <a:xfrm>
            <a:off x="11327112" y="92933"/>
            <a:ext cx="494011" cy="1004435"/>
          </a:xfrm>
          <a:prstGeom prst="rect">
            <a:avLst/>
          </a:prstGeom>
        </p:spPr>
      </p:pic>
      <p:sp>
        <p:nvSpPr>
          <p:cNvPr id="12" name="Title Placeholder 1">
            <a:extLst>
              <a:ext uri="{FF2B5EF4-FFF2-40B4-BE49-F238E27FC236}">
                <a16:creationId xmlns:a16="http://schemas.microsoft.com/office/drawing/2014/main" id="{CF8B44FA-611E-FC40-916A-FFE5928ECDFC}"/>
              </a:ext>
            </a:extLst>
          </p:cNvPr>
          <p:cNvSpPr>
            <a:spLocks noGrp="1"/>
          </p:cNvSpPr>
          <p:nvPr>
            <p:ph type="title"/>
          </p:nvPr>
        </p:nvSpPr>
        <p:spPr>
          <a:xfrm>
            <a:off x="430696" y="248478"/>
            <a:ext cx="10515600" cy="810592"/>
          </a:xfrm>
          <a:prstGeom prst="rect">
            <a:avLst/>
          </a:prstGeom>
        </p:spPr>
        <p:txBody>
          <a:bodyPr vert="horz" lIns="91440" tIns="45720" rIns="91440" bIns="45720" rtlCol="0" anchor="b">
            <a:normAutofit/>
          </a:bodyPr>
          <a:lstStyle/>
          <a:p>
            <a:r>
              <a:rPr lang="en-US" dirty="0"/>
              <a:t>Click to edit Master title style</a:t>
            </a:r>
          </a:p>
        </p:txBody>
      </p:sp>
      <p:sp>
        <p:nvSpPr>
          <p:cNvPr id="7" name="TextBox 6">
            <a:extLst>
              <a:ext uri="{FF2B5EF4-FFF2-40B4-BE49-F238E27FC236}">
                <a16:creationId xmlns:a16="http://schemas.microsoft.com/office/drawing/2014/main" id="{D7B3A326-F612-F445-B692-BD382F4DAA63}"/>
              </a:ext>
            </a:extLst>
          </p:cNvPr>
          <p:cNvSpPr txBox="1"/>
          <p:nvPr userDrawn="1"/>
        </p:nvSpPr>
        <p:spPr>
          <a:xfrm>
            <a:off x="5585791" y="6513183"/>
            <a:ext cx="6180731" cy="261610"/>
          </a:xfrm>
          <a:prstGeom prst="rect">
            <a:avLst/>
          </a:prstGeom>
          <a:noFill/>
        </p:spPr>
        <p:txBody>
          <a:bodyPr wrap="square" rtlCol="0">
            <a:spAutoFit/>
          </a:bodyPr>
          <a:lstStyle/>
          <a:p>
            <a:pPr algn="r"/>
            <a:r>
              <a:rPr lang="en-US" sz="1050" b="0" i="0" u="none" strike="noStrike" kern="1200" dirty="0">
                <a:solidFill>
                  <a:schemeClr val="tx1"/>
                </a:solidFill>
                <a:effectLst/>
                <a:latin typeface="+mn-lt"/>
                <a:ea typeface="+mn-ea"/>
                <a:cs typeface="+mn-cs"/>
              </a:rPr>
              <a:t>PROGRAMA DE LAS NACIONES UNIDAS PARA EL DESARROLLO</a:t>
            </a:r>
            <a:endParaRPr lang="en-US" sz="100" b="0" dirty="0">
              <a:solidFill>
                <a:schemeClr val="tx1">
                  <a:alpha val="75000"/>
                </a:schemeClr>
              </a:solidFill>
            </a:endParaRPr>
          </a:p>
        </p:txBody>
      </p:sp>
    </p:spTree>
    <p:extLst>
      <p:ext uri="{BB962C8B-B14F-4D97-AF65-F5344CB8AC3E}">
        <p14:creationId xmlns:p14="http://schemas.microsoft.com/office/powerpoint/2010/main" val="365593399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36.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45.png"/><Relationship Id="rId5" Type="http://schemas.openxmlformats.org/officeDocument/2006/relationships/image" Target="../media/image36.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12.gif"/><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https://www.eiu.com/n/how-will-el-nino-affect-latin-america-and-the-caribbean/" TargetMode="External"/><Relationship Id="rId5" Type="http://schemas.openxmlformats.org/officeDocument/2006/relationships/image" Target="../media/image11.emf"/><Relationship Id="rId4" Type="http://schemas.openxmlformats.org/officeDocument/2006/relationships/oleObject" Target="../embeddings/oleObject5.bin"/><Relationship Id="rId9" Type="http://schemas.openxmlformats.org/officeDocument/2006/relationships/image" Target="../media/image14.jpeg"/></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2.xml"/><Relationship Id="rId7" Type="http://schemas.openxmlformats.org/officeDocument/2006/relationships/image" Target="../media/image16.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6.bin"/><Relationship Id="rId9" Type="http://schemas.openxmlformats.org/officeDocument/2006/relationships/image" Target="../media/image1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9.jpeg"/><Relationship Id="rId5" Type="http://schemas.openxmlformats.org/officeDocument/2006/relationships/image" Target="../media/image1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notesSlide" Target="../notesSlides/notesSlide4.xml"/><Relationship Id="rId7" Type="http://schemas.openxmlformats.org/officeDocument/2006/relationships/image" Target="../media/image22.jpeg"/><Relationship Id="rId12"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11.emf"/><Relationship Id="rId10" Type="http://schemas.openxmlformats.org/officeDocument/2006/relationships/image" Target="../media/image25.png"/><Relationship Id="rId4" Type="http://schemas.openxmlformats.org/officeDocument/2006/relationships/oleObject" Target="../embeddings/oleObject8.bin"/><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1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6.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jpeg"/><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38.svg"/><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emf"/><Relationship Id="rId10" Type="http://schemas.openxmlformats.org/officeDocument/2006/relationships/image" Target="../media/image41.png"/><Relationship Id="rId4" Type="http://schemas.openxmlformats.org/officeDocument/2006/relationships/oleObject" Target="../embeddings/oleObject12.bin"/><Relationship Id="rId9" Type="http://schemas.openxmlformats.org/officeDocument/2006/relationships/image" Target="../media/image40.svg"/><Relationship Id="rId1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41BB78-4A3C-030E-CA4B-2C7D2A23ABA2}"/>
              </a:ext>
            </a:extLst>
          </p:cNvPr>
          <p:cNvGraphicFramePr>
            <a:graphicFrameLocks noChangeAspect="1"/>
          </p:cNvGraphicFramePr>
          <p:nvPr>
            <p:custDataLst>
              <p:tags r:id="rId1"/>
            </p:custDataLst>
            <p:extLst>
              <p:ext uri="{D42A27DB-BD31-4B8C-83A1-F6EECF244321}">
                <p14:modId xmlns:p14="http://schemas.microsoft.com/office/powerpoint/2010/main" val="3875915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1A41BB78-4A3C-030E-CA4B-2C7D2A23ABA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B86CB8-3653-644D-913F-B94CE3719F48}"/>
              </a:ext>
            </a:extLst>
          </p:cNvPr>
          <p:cNvSpPr>
            <a:spLocks noGrp="1"/>
          </p:cNvSpPr>
          <p:nvPr>
            <p:ph type="ctrTitle"/>
          </p:nvPr>
        </p:nvSpPr>
        <p:spPr>
          <a:xfrm>
            <a:off x="1215082" y="2694114"/>
            <a:ext cx="10831144" cy="1022224"/>
          </a:xfrm>
        </p:spPr>
        <p:txBody>
          <a:bodyPr vert="horz">
            <a:normAutofit fontScale="90000"/>
          </a:bodyPr>
          <a:lstStyle/>
          <a:p>
            <a:r>
              <a:rPr lang="en-US" dirty="0"/>
              <a:t>Liang Yang</a:t>
            </a:r>
            <a:br>
              <a:rPr lang="en-US" dirty="0"/>
            </a:br>
            <a:r>
              <a:rPr lang="en-US" dirty="0"/>
              <a:t>UNV </a:t>
            </a:r>
            <a:r>
              <a:rPr lang="en-US" altLang="zh-CN" dirty="0"/>
              <a:t>Assignment</a:t>
            </a:r>
            <a:r>
              <a:rPr lang="en-US" dirty="0"/>
              <a:t> Sharing</a:t>
            </a:r>
          </a:p>
        </p:txBody>
      </p:sp>
      <p:sp>
        <p:nvSpPr>
          <p:cNvPr id="3" name="Subtitle 2">
            <a:extLst>
              <a:ext uri="{FF2B5EF4-FFF2-40B4-BE49-F238E27FC236}">
                <a16:creationId xmlns:a16="http://schemas.microsoft.com/office/drawing/2014/main" id="{EDAFBDA5-E298-3440-8BED-4395E0318CFA}"/>
              </a:ext>
            </a:extLst>
          </p:cNvPr>
          <p:cNvSpPr>
            <a:spLocks noGrp="1"/>
          </p:cNvSpPr>
          <p:nvPr>
            <p:ph type="subTitle" idx="1"/>
          </p:nvPr>
        </p:nvSpPr>
        <p:spPr>
          <a:xfrm>
            <a:off x="1215082" y="3758436"/>
            <a:ext cx="10323775" cy="885371"/>
          </a:xfrm>
        </p:spPr>
        <p:txBody>
          <a:bodyPr anchor="ctr" anchorCtr="0">
            <a:spAutoFit/>
          </a:bodyPr>
          <a:lstStyle/>
          <a:p>
            <a:r>
              <a:rPr lang="en-US" sz="1600" b="1" dirty="0" err="1"/>
              <a:t>AdaptaClima</a:t>
            </a:r>
            <a:r>
              <a:rPr lang="en-US" sz="1600" dirty="0"/>
              <a:t>: Fortifying Climate Resilience in Ecuador's Coastal Cities through Empowering National Meteorological and Hydrological Services</a:t>
            </a:r>
          </a:p>
          <a:p>
            <a:r>
              <a:rPr lang="en-US" sz="1600" dirty="0"/>
              <a:t>A Collaborative Project between </a:t>
            </a:r>
            <a:r>
              <a:rPr lang="en-US" sz="1600" b="1" dirty="0"/>
              <a:t>UNDP</a:t>
            </a:r>
            <a:r>
              <a:rPr lang="en-US" sz="1600" dirty="0"/>
              <a:t> and </a:t>
            </a:r>
            <a:r>
              <a:rPr lang="en-US" sz="1600" b="1" dirty="0"/>
              <a:t>INMAHI</a:t>
            </a:r>
          </a:p>
        </p:txBody>
      </p:sp>
    </p:spTree>
    <p:extLst>
      <p:ext uri="{BB962C8B-B14F-4D97-AF65-F5344CB8AC3E}">
        <p14:creationId xmlns:p14="http://schemas.microsoft.com/office/powerpoint/2010/main" val="42566165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112179-68C2-DCF3-BF3D-B38605D02DE1}"/>
              </a:ext>
            </a:extLst>
          </p:cNvPr>
          <p:cNvGraphicFramePr>
            <a:graphicFrameLocks noChangeAspect="1"/>
          </p:cNvGraphicFramePr>
          <p:nvPr>
            <p:custDataLst>
              <p:tags r:id="rId1"/>
            </p:custDataLst>
            <p:extLst>
              <p:ext uri="{D42A27DB-BD31-4B8C-83A1-F6EECF244321}">
                <p14:modId xmlns:p14="http://schemas.microsoft.com/office/powerpoint/2010/main" val="40907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112179-68C2-DCF3-BF3D-B38605D02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C47B4-A196-DC50-2C83-9E3B6718CD8B}"/>
              </a:ext>
            </a:extLst>
          </p:cNvPr>
          <p:cNvSpPr>
            <a:spLocks noGrp="1"/>
          </p:cNvSpPr>
          <p:nvPr>
            <p:ph type="title"/>
          </p:nvPr>
        </p:nvSpPr>
        <p:spPr/>
        <p:txBody>
          <a:bodyPr vert="horz">
            <a:normAutofit/>
          </a:bodyPr>
          <a:lstStyle/>
          <a:p>
            <a:r>
              <a:rPr kumimoji="1" lang="en-US" altLang="zh-CN" sz="2400" dirty="0"/>
              <a:t>Limitation of the current approach and future challenges</a:t>
            </a:r>
            <a:endParaRPr kumimoji="1" lang="zh-CN" altLang="en-US" sz="2400" dirty="0"/>
          </a:p>
        </p:txBody>
      </p:sp>
      <p:sp>
        <p:nvSpPr>
          <p:cNvPr id="3" name="TextBox 2">
            <a:extLst>
              <a:ext uri="{FF2B5EF4-FFF2-40B4-BE49-F238E27FC236}">
                <a16:creationId xmlns:a16="http://schemas.microsoft.com/office/drawing/2014/main" id="{18809C0A-B909-174D-788D-5302929F63FA}"/>
              </a:ext>
            </a:extLst>
          </p:cNvPr>
          <p:cNvSpPr txBox="1"/>
          <p:nvPr/>
        </p:nvSpPr>
        <p:spPr>
          <a:xfrm>
            <a:off x="419099" y="1696453"/>
            <a:ext cx="11364913" cy="4497129"/>
          </a:xfrm>
          <a:prstGeom prst="rect">
            <a:avLst/>
          </a:prstGeom>
          <a:noFill/>
        </p:spPr>
        <p:txBody>
          <a:bodyPr wrap="square" rtlCol="0">
            <a:spAutoFit/>
          </a:bodyPr>
          <a:lstStyle/>
          <a:p>
            <a:pPr>
              <a:lnSpc>
                <a:spcPct val="120000"/>
              </a:lnSpc>
            </a:pPr>
            <a:r>
              <a:rPr kumimoji="1" lang="en-US" altLang="zh-CN" sz="1600" b="1" dirty="0"/>
              <a:t>Lack of data input</a:t>
            </a:r>
            <a:r>
              <a:rPr kumimoji="1" lang="zh-CN" altLang="en-US" sz="1600" b="1" dirty="0"/>
              <a:t> </a:t>
            </a:r>
            <a:r>
              <a:rPr kumimoji="1" lang="en-US" altLang="zh-CN" sz="1600" b="1" dirty="0"/>
              <a:t>in terms of both time and space dimension:</a:t>
            </a:r>
          </a:p>
          <a:p>
            <a:pPr marL="285750" indent="-285750">
              <a:lnSpc>
                <a:spcPct val="120000"/>
              </a:lnSpc>
              <a:buFont typeface="Arial" panose="020B0604020202020204" pitchFamily="34" charset="0"/>
              <a:buChar char="•"/>
            </a:pPr>
            <a:r>
              <a:rPr kumimoji="1" lang="en-US" altLang="zh-CN" sz="1600" dirty="0"/>
              <a:t>Insufficient range of historical data for only 1 year</a:t>
            </a:r>
          </a:p>
          <a:p>
            <a:pPr marL="285750" indent="-285750">
              <a:lnSpc>
                <a:spcPct val="120000"/>
              </a:lnSpc>
              <a:buFont typeface="Arial" panose="020B0604020202020204" pitchFamily="34" charset="0"/>
              <a:buChar char="•"/>
            </a:pPr>
            <a:r>
              <a:rPr kumimoji="1" lang="en-US" altLang="zh-CN" sz="1600" dirty="0"/>
              <a:t>Limited number of sensors deployed in the area</a:t>
            </a:r>
          </a:p>
          <a:p>
            <a:pPr marL="285750" indent="-285750">
              <a:lnSpc>
                <a:spcPct val="120000"/>
              </a:lnSpc>
              <a:buFont typeface="Arial" panose="020B0604020202020204" pitchFamily="34" charset="0"/>
              <a:buChar char="•"/>
            </a:pPr>
            <a:r>
              <a:rPr kumimoji="1" lang="en-US" altLang="zh-CN" sz="1600" dirty="0"/>
              <a:t>More sensors to be deploy in the region and maintain the performance and reliability of the existing sensors</a:t>
            </a:r>
          </a:p>
          <a:p>
            <a:pPr>
              <a:lnSpc>
                <a:spcPct val="120000"/>
              </a:lnSpc>
            </a:pPr>
            <a:r>
              <a:rPr kumimoji="1" lang="en-US" altLang="zh-CN" sz="1600" b="1" dirty="0"/>
              <a:t>Deficit from the simple data-driven model</a:t>
            </a:r>
          </a:p>
          <a:p>
            <a:pPr marL="285750" indent="-285750">
              <a:lnSpc>
                <a:spcPct val="120000"/>
              </a:lnSpc>
              <a:buFont typeface="Arial" panose="020B0604020202020204" pitchFamily="34" charset="0"/>
              <a:buChar char="•"/>
            </a:pPr>
            <a:r>
              <a:rPr kumimoji="1" lang="en-US" altLang="zh-CN" sz="1600" dirty="0"/>
              <a:t>Constrained by the computational power, simple random forest was chosen, which makes the model itself tend to be conservative, hard to capture the extreme situation</a:t>
            </a:r>
          </a:p>
          <a:p>
            <a:pPr marL="285750" indent="-285750">
              <a:lnSpc>
                <a:spcPct val="120000"/>
              </a:lnSpc>
              <a:buFont typeface="Arial" panose="020B0604020202020204" pitchFamily="34" charset="0"/>
              <a:buChar char="•"/>
            </a:pPr>
            <a:r>
              <a:rPr kumimoji="1" lang="en-US" altLang="zh-CN" sz="1600" dirty="0"/>
              <a:t>Try more sophisticated AI model with stronger computational power</a:t>
            </a:r>
          </a:p>
          <a:p>
            <a:pPr marL="285750" indent="-285750">
              <a:lnSpc>
                <a:spcPct val="120000"/>
              </a:lnSpc>
              <a:buFont typeface="Arial" panose="020B0604020202020204" pitchFamily="34" charset="0"/>
              <a:buChar char="•"/>
            </a:pPr>
            <a:r>
              <a:rPr kumimoji="1" lang="en-US" altLang="zh-CN" sz="1600" dirty="0"/>
              <a:t>Better to combine with the current numerical model to improve the accuracy</a:t>
            </a:r>
          </a:p>
          <a:p>
            <a:pPr marL="285750" indent="-285750">
              <a:lnSpc>
                <a:spcPct val="120000"/>
              </a:lnSpc>
              <a:buFont typeface="Arial" panose="020B0604020202020204" pitchFamily="34" charset="0"/>
              <a:buChar char="•"/>
            </a:pPr>
            <a:r>
              <a:rPr kumimoji="1" lang="en-US" altLang="zh-CN" sz="1600" dirty="0"/>
              <a:t>Low error-tolerance. Once the sensor failed and it didn’t receive the data, the model can’t make the prediction accordingly</a:t>
            </a:r>
          </a:p>
          <a:p>
            <a:pPr>
              <a:lnSpc>
                <a:spcPct val="120000"/>
              </a:lnSpc>
            </a:pPr>
            <a:r>
              <a:rPr kumimoji="1" lang="en-US" altLang="zh-CN" sz="1600" b="1" dirty="0"/>
              <a:t>Maintenance of the model and relative assets</a:t>
            </a:r>
          </a:p>
          <a:p>
            <a:pPr marL="285750" indent="-285750">
              <a:lnSpc>
                <a:spcPct val="120000"/>
              </a:lnSpc>
              <a:buFont typeface="Arial" panose="020B0604020202020204" pitchFamily="34" charset="0"/>
              <a:buChar char="•"/>
            </a:pPr>
            <a:r>
              <a:rPr kumimoji="1" lang="en-US" altLang="zh-CN" sz="1600" dirty="0"/>
              <a:t>Maintenance and updating of the model itself requires capability of data manipulation and AI engineering background</a:t>
            </a:r>
          </a:p>
          <a:p>
            <a:pPr marL="285750" indent="-285750">
              <a:lnSpc>
                <a:spcPct val="120000"/>
              </a:lnSpc>
              <a:buFont typeface="Arial" panose="020B0604020202020204" pitchFamily="34" charset="0"/>
              <a:buChar char="•"/>
            </a:pPr>
            <a:r>
              <a:rPr kumimoji="1" lang="en-US" altLang="zh-CN" sz="1600" dirty="0"/>
              <a:t>Operation and maintenance of the existing sensor stations involve multiple stakeholders, easy for disorder and confusion to occur</a:t>
            </a:r>
          </a:p>
        </p:txBody>
      </p:sp>
    </p:spTree>
    <p:extLst>
      <p:ext uri="{BB962C8B-B14F-4D97-AF65-F5344CB8AC3E}">
        <p14:creationId xmlns:p14="http://schemas.microsoft.com/office/powerpoint/2010/main" val="2634376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112179-68C2-DCF3-BF3D-B38605D02DE1}"/>
              </a:ext>
            </a:extLst>
          </p:cNvPr>
          <p:cNvGraphicFramePr>
            <a:graphicFrameLocks noChangeAspect="1"/>
          </p:cNvGraphicFramePr>
          <p:nvPr>
            <p:custDataLst>
              <p:tags r:id="rId1"/>
            </p:custDataLst>
            <p:extLst>
              <p:ext uri="{D42A27DB-BD31-4B8C-83A1-F6EECF244321}">
                <p14:modId xmlns:p14="http://schemas.microsoft.com/office/powerpoint/2010/main" val="2806539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112179-68C2-DCF3-BF3D-B38605D02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C47B4-A196-DC50-2C83-9E3B6718CD8B}"/>
              </a:ext>
            </a:extLst>
          </p:cNvPr>
          <p:cNvSpPr>
            <a:spLocks noGrp="1"/>
          </p:cNvSpPr>
          <p:nvPr>
            <p:ph type="title"/>
          </p:nvPr>
        </p:nvSpPr>
        <p:spPr/>
        <p:txBody>
          <a:bodyPr vert="horz">
            <a:normAutofit/>
          </a:bodyPr>
          <a:lstStyle/>
          <a:p>
            <a:r>
              <a:rPr kumimoji="1" lang="en-US" altLang="zh-CN" sz="2400" dirty="0"/>
              <a:t>Productions of work compiled into INAMHI’s </a:t>
            </a:r>
            <a:r>
              <a:rPr kumimoji="1" lang="en-US" altLang="zh-CN" sz="2400" dirty="0" err="1"/>
              <a:t>Github</a:t>
            </a:r>
            <a:r>
              <a:rPr kumimoji="1" lang="en-US" altLang="zh-CN" sz="2400" dirty="0"/>
              <a:t> repository for future development and maintenance</a:t>
            </a:r>
            <a:endParaRPr kumimoji="1" lang="zh-CN" altLang="en-US" sz="2400" dirty="0"/>
          </a:p>
        </p:txBody>
      </p:sp>
      <p:pic>
        <p:nvPicPr>
          <p:cNvPr id="13" name="Picture 12">
            <a:extLst>
              <a:ext uri="{FF2B5EF4-FFF2-40B4-BE49-F238E27FC236}">
                <a16:creationId xmlns:a16="http://schemas.microsoft.com/office/drawing/2014/main" id="{36B76B87-B8CB-6DE5-D9D5-A90DC9FBB7A9}"/>
              </a:ext>
            </a:extLst>
          </p:cNvPr>
          <p:cNvPicPr>
            <a:picLocks noChangeAspect="1"/>
          </p:cNvPicPr>
          <p:nvPr/>
        </p:nvPicPr>
        <p:blipFill>
          <a:blip r:embed="rId6"/>
          <a:stretch>
            <a:fillRect/>
          </a:stretch>
        </p:blipFill>
        <p:spPr>
          <a:xfrm>
            <a:off x="447236" y="1830783"/>
            <a:ext cx="9097645" cy="4124901"/>
          </a:xfrm>
          <a:prstGeom prst="rect">
            <a:avLst/>
          </a:prstGeom>
        </p:spPr>
      </p:pic>
      <p:sp>
        <p:nvSpPr>
          <p:cNvPr id="53" name="TextBox 52">
            <a:extLst>
              <a:ext uri="{FF2B5EF4-FFF2-40B4-BE49-F238E27FC236}">
                <a16:creationId xmlns:a16="http://schemas.microsoft.com/office/drawing/2014/main" id="{105C9F2E-C3F7-4726-208D-6E42B35B3227}"/>
              </a:ext>
            </a:extLst>
          </p:cNvPr>
          <p:cNvSpPr txBox="1"/>
          <p:nvPr/>
        </p:nvSpPr>
        <p:spPr>
          <a:xfrm>
            <a:off x="430696" y="1347310"/>
            <a:ext cx="6098344" cy="307777"/>
          </a:xfrm>
          <a:prstGeom prst="rect">
            <a:avLst/>
          </a:prstGeom>
          <a:noFill/>
        </p:spPr>
        <p:txBody>
          <a:bodyPr wrap="square">
            <a:spAutoFit/>
          </a:bodyPr>
          <a:lstStyle/>
          <a:p>
            <a:r>
              <a:rPr lang="zh-CN" altLang="en-US" sz="1400" u="sng" dirty="0"/>
              <a:t>https://github.com/DPAINAMHI/esmeraldas</a:t>
            </a:r>
          </a:p>
        </p:txBody>
      </p:sp>
    </p:spTree>
    <p:extLst>
      <p:ext uri="{BB962C8B-B14F-4D97-AF65-F5344CB8AC3E}">
        <p14:creationId xmlns:p14="http://schemas.microsoft.com/office/powerpoint/2010/main" val="3454528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91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96331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p:txBody>
          <a:bodyPr vert="horz">
            <a:noAutofit/>
          </a:bodyPr>
          <a:lstStyle/>
          <a:p>
            <a:r>
              <a:rPr lang="en-US" sz="2400" dirty="0"/>
              <a:t>PROJECT BACKGROUND:</a:t>
            </a:r>
            <a:r>
              <a:rPr lang="zh-CN" altLang="en-US" sz="2400" dirty="0"/>
              <a:t> </a:t>
            </a:r>
            <a:r>
              <a:rPr lang="en-US" altLang="zh-CN" sz="2400" dirty="0"/>
              <a:t>Under</a:t>
            </a:r>
            <a:r>
              <a:rPr lang="zh-CN" altLang="en-US" sz="2400" dirty="0"/>
              <a:t> </a:t>
            </a:r>
            <a:r>
              <a:rPr lang="en-US" altLang="zh-CN" sz="2400" dirty="0"/>
              <a:t>the</a:t>
            </a:r>
            <a:r>
              <a:rPr lang="zh-CN" altLang="en-US" sz="2400" dirty="0"/>
              <a:t> </a:t>
            </a:r>
            <a:r>
              <a:rPr lang="en-US" altLang="zh-CN" sz="2400" dirty="0"/>
              <a:t>influence of El Niño,</a:t>
            </a:r>
            <a:r>
              <a:rPr lang="zh-CN" altLang="en-US" sz="2400" dirty="0"/>
              <a:t> </a:t>
            </a:r>
            <a:r>
              <a:rPr lang="en-US" altLang="zh-CN" sz="2400" dirty="0"/>
              <a:t>Ecuador is suffering with both droughts and floods</a:t>
            </a:r>
            <a:endParaRPr lang="en-US" sz="2400" dirty="0"/>
          </a:p>
        </p:txBody>
      </p:sp>
      <p:sp>
        <p:nvSpPr>
          <p:cNvPr id="38" name="Text Placeholder 37">
            <a:extLst>
              <a:ext uri="{FF2B5EF4-FFF2-40B4-BE49-F238E27FC236}">
                <a16:creationId xmlns:a16="http://schemas.microsoft.com/office/drawing/2014/main" id="{63211A1B-4929-FEE4-C162-818C781E9621}"/>
              </a:ext>
            </a:extLst>
          </p:cNvPr>
          <p:cNvSpPr>
            <a:spLocks noGrp="1"/>
          </p:cNvSpPr>
          <p:nvPr>
            <p:ph type="body" sz="quarter" idx="10"/>
          </p:nvPr>
        </p:nvSpPr>
        <p:spPr>
          <a:xfrm>
            <a:off x="419100" y="6534584"/>
            <a:ext cx="4914900" cy="222065"/>
          </a:xfrm>
        </p:spPr>
        <p:txBody>
          <a:bodyPr>
            <a:normAutofit lnSpcReduction="10000"/>
          </a:bodyPr>
          <a:lstStyle/>
          <a:p>
            <a:r>
              <a:rPr lang="en-US" altLang="zh-CN" dirty="0"/>
              <a:t>Source: </a:t>
            </a:r>
            <a:r>
              <a:rPr lang="en-US" altLang="zh-CN" dirty="0">
                <a:hlinkClick r:id="rId6"/>
              </a:rPr>
              <a:t>The Economist</a:t>
            </a:r>
            <a:endParaRPr lang="zh-CN" altLang="en-US" dirty="0"/>
          </a:p>
        </p:txBody>
      </p:sp>
      <p:pic>
        <p:nvPicPr>
          <p:cNvPr id="1026" name="Picture 2" descr="Map shows the Latin America region with blobs to illustrate the heterogeneity of the impact of the El Nino weather pattern. What stands out is how uneven the effects will be. For instance, Mexico is likely to experience high rainfall in January-April, whereas Brazil will be drier than average in April to June. Some areas will get forest fires, whereas others are likely to experience flooding.">
            <a:extLst>
              <a:ext uri="{FF2B5EF4-FFF2-40B4-BE49-F238E27FC236}">
                <a16:creationId xmlns:a16="http://schemas.microsoft.com/office/drawing/2014/main" id="{E53B59E2-197D-8D1F-A46E-359EE345028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8814"/>
          <a:stretch/>
        </p:blipFill>
        <p:spPr bwMode="auto">
          <a:xfrm>
            <a:off x="6136850" y="1168924"/>
            <a:ext cx="5268798" cy="53461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4505C6D1-3C65-C068-2218-17A0CC896C66}"/>
              </a:ext>
            </a:extLst>
          </p:cNvPr>
          <p:cNvPicPr>
            <a:picLocks noChangeAspect="1"/>
          </p:cNvPicPr>
          <p:nvPr/>
        </p:nvPicPr>
        <p:blipFill>
          <a:blip r:embed="rId8"/>
          <a:stretch>
            <a:fillRect/>
          </a:stretch>
        </p:blipFill>
        <p:spPr>
          <a:xfrm>
            <a:off x="452468" y="4309474"/>
            <a:ext cx="4492658" cy="2187524"/>
          </a:xfrm>
          <a:prstGeom prst="rect">
            <a:avLst/>
          </a:prstGeom>
        </p:spPr>
      </p:pic>
      <p:sp>
        <p:nvSpPr>
          <p:cNvPr id="52" name="TextBox 51">
            <a:extLst>
              <a:ext uri="{FF2B5EF4-FFF2-40B4-BE49-F238E27FC236}">
                <a16:creationId xmlns:a16="http://schemas.microsoft.com/office/drawing/2014/main" id="{FA236359-00C2-3CE5-14B6-779BAD9F71DC}"/>
              </a:ext>
            </a:extLst>
          </p:cNvPr>
          <p:cNvSpPr txBox="1"/>
          <p:nvPr/>
        </p:nvSpPr>
        <p:spPr>
          <a:xfrm>
            <a:off x="430696" y="1160932"/>
            <a:ext cx="4914900" cy="276999"/>
          </a:xfrm>
          <a:prstGeom prst="rect">
            <a:avLst/>
          </a:prstGeom>
          <a:noFill/>
        </p:spPr>
        <p:txBody>
          <a:bodyPr wrap="square" rtlCol="0">
            <a:spAutoFit/>
          </a:bodyPr>
          <a:lstStyle/>
          <a:p>
            <a:r>
              <a:rPr lang="en-US" altLang="zh-CN" sz="1200" b="1" dirty="0"/>
              <a:t>Floods in the costal provinces, especially the Esmeraldas city</a:t>
            </a:r>
            <a:endParaRPr lang="zh-CN" altLang="en-US" sz="1200" b="1" dirty="0"/>
          </a:p>
        </p:txBody>
      </p:sp>
      <p:pic>
        <p:nvPicPr>
          <p:cNvPr id="1030" name="Picture 6" descr="Fuertes lluvias en zona costera de Ecuador - Vatican News">
            <a:extLst>
              <a:ext uri="{FF2B5EF4-FFF2-40B4-BE49-F238E27FC236}">
                <a16:creationId xmlns:a16="http://schemas.microsoft.com/office/drawing/2014/main" id="{9AAECD12-45B2-EC5B-5F8B-3B0F79BECF5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1828" y="1456663"/>
            <a:ext cx="4391526" cy="2297137"/>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731B1CC3-1827-99A6-BC57-A114DBFCE863}"/>
              </a:ext>
            </a:extLst>
          </p:cNvPr>
          <p:cNvSpPr txBox="1"/>
          <p:nvPr/>
        </p:nvSpPr>
        <p:spPr>
          <a:xfrm>
            <a:off x="430696" y="3837642"/>
            <a:ext cx="4424108" cy="461665"/>
          </a:xfrm>
          <a:prstGeom prst="rect">
            <a:avLst/>
          </a:prstGeom>
          <a:noFill/>
        </p:spPr>
        <p:txBody>
          <a:bodyPr wrap="square" rtlCol="0">
            <a:spAutoFit/>
          </a:bodyPr>
          <a:lstStyle/>
          <a:p>
            <a:r>
              <a:rPr lang="en-US" altLang="zh-CN" sz="1200" b="1" dirty="0"/>
              <a:t>Droughts causes energy crisis in the inland due to a high dependency on hydropower</a:t>
            </a:r>
            <a:endParaRPr lang="zh-CN" altLang="en-US" sz="1200" b="1" dirty="0"/>
          </a:p>
        </p:txBody>
      </p:sp>
      <p:cxnSp>
        <p:nvCxnSpPr>
          <p:cNvPr id="55" name="Straight Arrow Connector 54">
            <a:extLst>
              <a:ext uri="{FF2B5EF4-FFF2-40B4-BE49-F238E27FC236}">
                <a16:creationId xmlns:a16="http://schemas.microsoft.com/office/drawing/2014/main" id="{605875F3-EEBE-C9CF-6D68-F353F4E8B4B2}"/>
              </a:ext>
            </a:extLst>
          </p:cNvPr>
          <p:cNvCxnSpPr>
            <a:cxnSpLocks/>
          </p:cNvCxnSpPr>
          <p:nvPr/>
        </p:nvCxnSpPr>
        <p:spPr>
          <a:xfrm flipH="1" flipV="1">
            <a:off x="5137608" y="2394408"/>
            <a:ext cx="3846136" cy="10345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CC7FC0B2-0BAE-469A-499B-950E29495BF7}"/>
              </a:ext>
            </a:extLst>
          </p:cNvPr>
          <p:cNvCxnSpPr>
            <a:cxnSpLocks/>
          </p:cNvCxnSpPr>
          <p:nvPr/>
        </p:nvCxnSpPr>
        <p:spPr>
          <a:xfrm flipH="1">
            <a:off x="5137608" y="4114641"/>
            <a:ext cx="4194928" cy="1315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9966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1423113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p:txBody>
          <a:bodyPr vert="horz">
            <a:noAutofit/>
          </a:bodyPr>
          <a:lstStyle/>
          <a:p>
            <a:r>
              <a:rPr lang="en-US" sz="2400" dirty="0"/>
              <a:t>Esmeraldas is a </a:t>
            </a:r>
            <a:r>
              <a:rPr lang="en-US" altLang="zh-CN" sz="2400" dirty="0"/>
              <a:t>costal </a:t>
            </a:r>
            <a:r>
              <a:rPr lang="en-US" sz="2400" dirty="0"/>
              <a:t>city under multiple disaster risks, including floods, sea level rise and landslide</a:t>
            </a:r>
          </a:p>
        </p:txBody>
      </p:sp>
      <p:sp>
        <p:nvSpPr>
          <p:cNvPr id="52" name="TextBox 51">
            <a:extLst>
              <a:ext uri="{FF2B5EF4-FFF2-40B4-BE49-F238E27FC236}">
                <a16:creationId xmlns:a16="http://schemas.microsoft.com/office/drawing/2014/main" id="{FA236359-00C2-3CE5-14B6-779BAD9F71DC}"/>
              </a:ext>
            </a:extLst>
          </p:cNvPr>
          <p:cNvSpPr txBox="1"/>
          <p:nvPr/>
        </p:nvSpPr>
        <p:spPr>
          <a:xfrm>
            <a:off x="430695" y="1245775"/>
            <a:ext cx="6450871" cy="338554"/>
          </a:xfrm>
          <a:prstGeom prst="rect">
            <a:avLst/>
          </a:prstGeom>
          <a:noFill/>
        </p:spPr>
        <p:txBody>
          <a:bodyPr wrap="square" rtlCol="0">
            <a:spAutoFit/>
          </a:bodyPr>
          <a:lstStyle/>
          <a:p>
            <a:r>
              <a:rPr lang="en-US" altLang="zh-CN" sz="1600" b="1" dirty="0">
                <a:ea typeface="Calibri" panose="020F0502020204030204" pitchFamily="34" charset="0"/>
                <a:cs typeface="Calibri" panose="020F0502020204030204" pitchFamily="34" charset="0"/>
              </a:rPr>
              <a:t>Floods in the costal area, especially the Esmeraldas city</a:t>
            </a:r>
            <a:endParaRPr lang="zh-CN" altLang="en-US" sz="1600" b="1" dirty="0">
              <a:cs typeface="Calibri" panose="020F0502020204030204" pitchFamily="34" charset="0"/>
            </a:endParaRPr>
          </a:p>
        </p:txBody>
      </p:sp>
      <p:cxnSp>
        <p:nvCxnSpPr>
          <p:cNvPr id="23" name="Straight Connector 22">
            <a:extLst>
              <a:ext uri="{FF2B5EF4-FFF2-40B4-BE49-F238E27FC236}">
                <a16:creationId xmlns:a16="http://schemas.microsoft.com/office/drawing/2014/main" id="{21C0FF06-C965-4668-C689-112F4ABBEE9C}"/>
              </a:ext>
            </a:extLst>
          </p:cNvPr>
          <p:cNvCxnSpPr>
            <a:cxnSpLocks/>
          </p:cNvCxnSpPr>
          <p:nvPr/>
        </p:nvCxnSpPr>
        <p:spPr>
          <a:xfrm>
            <a:off x="527901" y="1602555"/>
            <a:ext cx="556809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3114F92-9BE5-D2C3-4574-B2722BEBF87F}"/>
              </a:ext>
            </a:extLst>
          </p:cNvPr>
          <p:cNvSpPr txBox="1"/>
          <p:nvPr/>
        </p:nvSpPr>
        <p:spPr>
          <a:xfrm>
            <a:off x="6418084" y="1629659"/>
            <a:ext cx="3366939" cy="1600438"/>
          </a:xfrm>
          <a:prstGeom prst="rect">
            <a:avLst/>
          </a:prstGeom>
          <a:noFill/>
        </p:spPr>
        <p:txBody>
          <a:bodyPr wrap="square" rtlCol="0">
            <a:spAutoFit/>
          </a:bodyPr>
          <a:lstStyle/>
          <a:p>
            <a:pPr marL="285750" indent="-285750">
              <a:buFont typeface="Arial" panose="020B0604020202020204" pitchFamily="34" charset="0"/>
              <a:buChar char="•"/>
            </a:pPr>
            <a:r>
              <a:rPr lang="en-US" altLang="zh-CN" sz="1400" dirty="0"/>
              <a:t>The </a:t>
            </a:r>
            <a:r>
              <a:rPr lang="en-US" altLang="zh-CN" sz="1400" b="1" dirty="0"/>
              <a:t>Esmeraldas river (4</a:t>
            </a:r>
            <a:r>
              <a:rPr lang="en-US" altLang="zh-CN" sz="1400" b="1" baseline="30000" dirty="0"/>
              <a:t>th</a:t>
            </a:r>
            <a:r>
              <a:rPr lang="en-US" altLang="zh-CN" sz="1400" b="1" dirty="0"/>
              <a:t> largest in Ecuador)</a:t>
            </a:r>
            <a:r>
              <a:rPr lang="en-US" altLang="zh-CN" sz="1400" dirty="0"/>
              <a:t> and the </a:t>
            </a:r>
            <a:r>
              <a:rPr lang="en-US" altLang="zh-CN" sz="1400" b="1" dirty="0" err="1"/>
              <a:t>Teaone</a:t>
            </a:r>
            <a:r>
              <a:rPr lang="en-US" altLang="zh-CN" sz="1400" b="1" dirty="0"/>
              <a:t> river </a:t>
            </a:r>
            <a:r>
              <a:rPr lang="en-US" altLang="zh-CN" sz="1400" dirty="0"/>
              <a:t>crossing along the residential area.</a:t>
            </a:r>
          </a:p>
          <a:p>
            <a:pPr marL="285750" indent="-285750">
              <a:buFont typeface="Arial" panose="020B0604020202020204" pitchFamily="34" charset="0"/>
              <a:buChar char="•"/>
            </a:pPr>
            <a:r>
              <a:rPr lang="en-US" altLang="zh-CN" sz="1400" dirty="0"/>
              <a:t>The area is very humid, annual rainfall in the city is about 800 mm. Frequent overflow of the 2 rivers is the direct cause of floods in this area.</a:t>
            </a:r>
            <a:endParaRPr lang="zh-CN" altLang="en-US" sz="1400" dirty="0"/>
          </a:p>
        </p:txBody>
      </p:sp>
      <p:cxnSp>
        <p:nvCxnSpPr>
          <p:cNvPr id="36" name="Straight Connector 35">
            <a:extLst>
              <a:ext uri="{FF2B5EF4-FFF2-40B4-BE49-F238E27FC236}">
                <a16:creationId xmlns:a16="http://schemas.microsoft.com/office/drawing/2014/main" id="{427B59A1-6516-31AF-5E73-05AD89F2A588}"/>
              </a:ext>
            </a:extLst>
          </p:cNvPr>
          <p:cNvCxnSpPr>
            <a:cxnSpLocks/>
          </p:cNvCxnSpPr>
          <p:nvPr/>
        </p:nvCxnSpPr>
        <p:spPr>
          <a:xfrm>
            <a:off x="4573572" y="3319924"/>
            <a:ext cx="512660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25FC2F7-7243-75BF-0B34-09C573FBBC83}"/>
              </a:ext>
            </a:extLst>
          </p:cNvPr>
          <p:cNvCxnSpPr>
            <a:cxnSpLocks/>
          </p:cNvCxnSpPr>
          <p:nvPr/>
        </p:nvCxnSpPr>
        <p:spPr>
          <a:xfrm>
            <a:off x="4573572" y="5118755"/>
            <a:ext cx="5211452"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E75B77EC-1671-D79E-17B8-B97F1CFDE010}"/>
              </a:ext>
            </a:extLst>
          </p:cNvPr>
          <p:cNvPicPr>
            <a:picLocks noChangeAspect="1"/>
          </p:cNvPicPr>
          <p:nvPr/>
        </p:nvPicPr>
        <p:blipFill>
          <a:blip r:embed="rId6"/>
          <a:stretch>
            <a:fillRect/>
          </a:stretch>
        </p:blipFill>
        <p:spPr>
          <a:xfrm>
            <a:off x="527900" y="1705480"/>
            <a:ext cx="3847696" cy="4809620"/>
          </a:xfrm>
          <a:prstGeom prst="rect">
            <a:avLst/>
          </a:prstGeom>
        </p:spPr>
      </p:pic>
      <p:sp>
        <p:nvSpPr>
          <p:cNvPr id="47" name="TextBox 46">
            <a:extLst>
              <a:ext uri="{FF2B5EF4-FFF2-40B4-BE49-F238E27FC236}">
                <a16:creationId xmlns:a16="http://schemas.microsoft.com/office/drawing/2014/main" id="{E4DAFEC8-0F68-FAD7-DD85-23A7679944B9}"/>
              </a:ext>
            </a:extLst>
          </p:cNvPr>
          <p:cNvSpPr txBox="1"/>
          <p:nvPr/>
        </p:nvSpPr>
        <p:spPr>
          <a:xfrm>
            <a:off x="6475234" y="3324804"/>
            <a:ext cx="3309789" cy="1815882"/>
          </a:xfrm>
          <a:prstGeom prst="rect">
            <a:avLst/>
          </a:prstGeom>
          <a:noFill/>
        </p:spPr>
        <p:txBody>
          <a:bodyPr wrap="square" rtlCol="0">
            <a:spAutoFit/>
          </a:bodyPr>
          <a:lstStyle/>
          <a:p>
            <a:pPr marL="285750" indent="-285750">
              <a:buFont typeface="Arial" panose="020B0604020202020204" pitchFamily="34" charset="0"/>
              <a:buChar char="•"/>
            </a:pPr>
            <a:r>
              <a:rPr lang="en-US" altLang="zh-CN" sz="1400" b="1" dirty="0"/>
              <a:t>Cerra </a:t>
            </a:r>
            <a:r>
              <a:rPr lang="en-US" altLang="zh-CN" sz="1400" b="1" dirty="0" err="1"/>
              <a:t>Gatazo</a:t>
            </a:r>
            <a:r>
              <a:rPr lang="en-US" altLang="zh-CN" sz="1400" dirty="0"/>
              <a:t> is a 260 m height hill that divides the city into two parts</a:t>
            </a:r>
          </a:p>
          <a:p>
            <a:pPr marL="285750" indent="-285750">
              <a:buFont typeface="Arial" panose="020B0604020202020204" pitchFamily="34" charset="0"/>
              <a:buChar char="•"/>
            </a:pPr>
            <a:r>
              <a:rPr lang="en-US" altLang="zh-CN" sz="1400" dirty="0"/>
              <a:t>The slopes are a mixture of eroded and barren areas and vegetated areas with grasses and trees. </a:t>
            </a:r>
          </a:p>
          <a:p>
            <a:pPr marL="285750" indent="-285750">
              <a:buFont typeface="Arial" panose="020B0604020202020204" pitchFamily="34" charset="0"/>
              <a:buChar char="•"/>
            </a:pPr>
            <a:r>
              <a:rPr lang="en-US" altLang="zh-CN" sz="1400" dirty="0"/>
              <a:t>Despite the high risk, the local population occupied the hill land informally and illegally.</a:t>
            </a:r>
            <a:endParaRPr lang="zh-CN" altLang="en-US" sz="1400" dirty="0"/>
          </a:p>
        </p:txBody>
      </p:sp>
      <p:sp>
        <p:nvSpPr>
          <p:cNvPr id="48" name="Rectangle 47">
            <a:extLst>
              <a:ext uri="{FF2B5EF4-FFF2-40B4-BE49-F238E27FC236}">
                <a16:creationId xmlns:a16="http://schemas.microsoft.com/office/drawing/2014/main" id="{DBA7DC99-8135-7067-6EE1-14B25DA08D81}"/>
              </a:ext>
            </a:extLst>
          </p:cNvPr>
          <p:cNvSpPr/>
          <p:nvPr/>
        </p:nvSpPr>
        <p:spPr>
          <a:xfrm>
            <a:off x="1366887" y="3935611"/>
            <a:ext cx="817572" cy="782668"/>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TextBox 1023">
            <a:extLst>
              <a:ext uri="{FF2B5EF4-FFF2-40B4-BE49-F238E27FC236}">
                <a16:creationId xmlns:a16="http://schemas.microsoft.com/office/drawing/2014/main" id="{ED90FD5B-96CE-065D-E155-244BE0AD98EA}"/>
              </a:ext>
            </a:extLst>
          </p:cNvPr>
          <p:cNvSpPr txBox="1"/>
          <p:nvPr/>
        </p:nvSpPr>
        <p:spPr>
          <a:xfrm>
            <a:off x="6475234" y="5303678"/>
            <a:ext cx="3309790" cy="1169551"/>
          </a:xfrm>
          <a:prstGeom prst="rect">
            <a:avLst/>
          </a:prstGeom>
          <a:noFill/>
        </p:spPr>
        <p:txBody>
          <a:bodyPr wrap="square" rtlCol="0">
            <a:spAutoFit/>
          </a:bodyPr>
          <a:lstStyle/>
          <a:p>
            <a:pPr marL="285750" indent="-285750">
              <a:buFont typeface="Arial" panose="020B0604020202020204" pitchFamily="34" charset="0"/>
              <a:buChar char="•"/>
            </a:pPr>
            <a:r>
              <a:rPr lang="en-US" altLang="zh-CN" sz="1400" dirty="0"/>
              <a:t>Sea level rise could make up to 6% of the city under water </a:t>
            </a:r>
          </a:p>
          <a:p>
            <a:pPr marL="285750" indent="-285750">
              <a:buFont typeface="Arial" panose="020B0604020202020204" pitchFamily="34" charset="0"/>
              <a:buChar char="•"/>
            </a:pPr>
            <a:r>
              <a:rPr lang="en-US" altLang="zh-CN" sz="1400" dirty="0"/>
              <a:t>The </a:t>
            </a:r>
            <a:r>
              <a:rPr lang="en-US" altLang="zh-CN" sz="1400" b="1" dirty="0"/>
              <a:t>sedimentary islands</a:t>
            </a:r>
            <a:r>
              <a:rPr lang="en-US" altLang="zh-CN" sz="1400" dirty="0"/>
              <a:t> and </a:t>
            </a:r>
            <a:r>
              <a:rPr lang="en-US" altLang="zh-CN" sz="1400" b="1" dirty="0" err="1"/>
              <a:t>Tachina</a:t>
            </a:r>
            <a:r>
              <a:rPr lang="en-US" altLang="zh-CN" sz="1400" b="1" dirty="0"/>
              <a:t> Airport</a:t>
            </a:r>
            <a:r>
              <a:rPr lang="en-US" altLang="zh-CN" sz="1400" dirty="0"/>
              <a:t> would be the most affected areas.</a:t>
            </a:r>
            <a:endParaRPr lang="zh-CN" altLang="en-US" sz="1400" dirty="0"/>
          </a:p>
        </p:txBody>
      </p:sp>
      <p:sp>
        <p:nvSpPr>
          <p:cNvPr id="1025" name="Rectangle 1024">
            <a:extLst>
              <a:ext uri="{FF2B5EF4-FFF2-40B4-BE49-F238E27FC236}">
                <a16:creationId xmlns:a16="http://schemas.microsoft.com/office/drawing/2014/main" id="{AEC24CA6-0735-CDA1-CF8F-D9668E4604F4}"/>
              </a:ext>
            </a:extLst>
          </p:cNvPr>
          <p:cNvSpPr/>
          <p:nvPr/>
        </p:nvSpPr>
        <p:spPr>
          <a:xfrm>
            <a:off x="3316665" y="2544179"/>
            <a:ext cx="312655" cy="782668"/>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7" name="Rectangle 1026">
            <a:extLst>
              <a:ext uri="{FF2B5EF4-FFF2-40B4-BE49-F238E27FC236}">
                <a16:creationId xmlns:a16="http://schemas.microsoft.com/office/drawing/2014/main" id="{E2068F45-8E87-C77A-D9DA-314444A26BED}"/>
              </a:ext>
            </a:extLst>
          </p:cNvPr>
          <p:cNvSpPr/>
          <p:nvPr/>
        </p:nvSpPr>
        <p:spPr>
          <a:xfrm rot="1373047">
            <a:off x="2485624" y="2940269"/>
            <a:ext cx="560341" cy="1353805"/>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3" name="Right Brace 1042">
            <a:extLst>
              <a:ext uri="{FF2B5EF4-FFF2-40B4-BE49-F238E27FC236}">
                <a16:creationId xmlns:a16="http://schemas.microsoft.com/office/drawing/2014/main" id="{30CC13F2-F023-F415-B3CA-901EB73ADFD8}"/>
              </a:ext>
            </a:extLst>
          </p:cNvPr>
          <p:cNvSpPr/>
          <p:nvPr/>
        </p:nvSpPr>
        <p:spPr>
          <a:xfrm>
            <a:off x="9832160" y="1602555"/>
            <a:ext cx="236533" cy="487067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51" name="TextBox 1050">
            <a:extLst>
              <a:ext uri="{FF2B5EF4-FFF2-40B4-BE49-F238E27FC236}">
                <a16:creationId xmlns:a16="http://schemas.microsoft.com/office/drawing/2014/main" id="{00EBEE05-A74B-8481-9379-EFAE3E5D2C12}"/>
              </a:ext>
            </a:extLst>
          </p:cNvPr>
          <p:cNvSpPr txBox="1"/>
          <p:nvPr/>
        </p:nvSpPr>
        <p:spPr>
          <a:xfrm>
            <a:off x="10162965" y="3155176"/>
            <a:ext cx="1837355" cy="1938992"/>
          </a:xfrm>
          <a:prstGeom prst="rect">
            <a:avLst/>
          </a:prstGeom>
          <a:solidFill>
            <a:schemeClr val="tx1">
              <a:lumMod val="20000"/>
              <a:lumOff val="80000"/>
            </a:schemeClr>
          </a:solidFill>
        </p:spPr>
        <p:txBody>
          <a:bodyPr wrap="square" rtlCol="0">
            <a:spAutoFit/>
          </a:bodyPr>
          <a:lstStyle/>
          <a:p>
            <a:pPr algn="just"/>
            <a:r>
              <a:rPr lang="en-US" altLang="zh-CN" sz="1200" dirty="0"/>
              <a:t>All disaster risks are strongly correlated with the precipitation within the river basin. So, the key to prevent the damage of disasters is to forecast the level of precipitation and river level so that we can warn the public in time.</a:t>
            </a:r>
            <a:endParaRPr lang="zh-CN" altLang="en-US" sz="1200" dirty="0"/>
          </a:p>
        </p:txBody>
      </p:sp>
      <p:pic>
        <p:nvPicPr>
          <p:cNvPr id="1028" name="Picture 4" descr="Russia declares emergency in flood-hit areas as evacuation efforts continue  | World News - Business Standard">
            <a:extLst>
              <a:ext uri="{FF2B5EF4-FFF2-40B4-BE49-F238E27FC236}">
                <a16:creationId xmlns:a16="http://schemas.microsoft.com/office/drawing/2014/main" id="{1969A9E2-DF13-D887-C54D-0545BD9B3C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1676" y="1943805"/>
            <a:ext cx="1903558" cy="11910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andslide in Philippines mining town kills nearly 100, prompts calls for  action">
            <a:extLst>
              <a:ext uri="{FF2B5EF4-FFF2-40B4-BE49-F238E27FC236}">
                <a16:creationId xmlns:a16="http://schemas.microsoft.com/office/drawing/2014/main" id="{7D75AFC9-CBBB-9131-2ECB-9139EA1759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6324" y="3632581"/>
            <a:ext cx="1908910" cy="139174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a level rise worse in Pacific than other regions | RNZ News">
            <a:extLst>
              <a:ext uri="{FF2B5EF4-FFF2-40B4-BE49-F238E27FC236}">
                <a16:creationId xmlns:a16="http://schemas.microsoft.com/office/drawing/2014/main" id="{10BD44B8-A72B-1189-F580-A30D2B248C5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89157" y="5420609"/>
            <a:ext cx="1753644" cy="109728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BDE31FA-3CA9-DB83-9CAD-62FB8B7A6E22}"/>
              </a:ext>
            </a:extLst>
          </p:cNvPr>
          <p:cNvSpPr txBox="1"/>
          <p:nvPr/>
        </p:nvSpPr>
        <p:spPr>
          <a:xfrm>
            <a:off x="4573572" y="1629659"/>
            <a:ext cx="1627692" cy="307777"/>
          </a:xfrm>
          <a:prstGeom prst="rect">
            <a:avLst/>
          </a:prstGeom>
          <a:noFill/>
        </p:spPr>
        <p:txBody>
          <a:bodyPr wrap="square" lIns="0">
            <a:spAutoFit/>
          </a:bodyPr>
          <a:lstStyle/>
          <a:p>
            <a:r>
              <a:rPr lang="en-US" altLang="zh-CN" sz="1400" b="1" dirty="0"/>
              <a:t>Floods</a:t>
            </a:r>
            <a:r>
              <a:rPr lang="en-US" altLang="zh-CN" sz="1400" dirty="0"/>
              <a:t>: </a:t>
            </a:r>
          </a:p>
        </p:txBody>
      </p:sp>
      <p:sp>
        <p:nvSpPr>
          <p:cNvPr id="8" name="TextBox 7">
            <a:extLst>
              <a:ext uri="{FF2B5EF4-FFF2-40B4-BE49-F238E27FC236}">
                <a16:creationId xmlns:a16="http://schemas.microsoft.com/office/drawing/2014/main" id="{0FD4A909-657D-0BF9-B8E5-776F0C98972D}"/>
              </a:ext>
            </a:extLst>
          </p:cNvPr>
          <p:cNvSpPr txBox="1"/>
          <p:nvPr/>
        </p:nvSpPr>
        <p:spPr>
          <a:xfrm>
            <a:off x="3027546" y="2183159"/>
            <a:ext cx="1337063" cy="276999"/>
          </a:xfrm>
          <a:prstGeom prst="rect">
            <a:avLst/>
          </a:prstGeom>
          <a:noFill/>
        </p:spPr>
        <p:txBody>
          <a:bodyPr wrap="square" lIns="0">
            <a:spAutoFit/>
          </a:bodyPr>
          <a:lstStyle/>
          <a:p>
            <a:r>
              <a:rPr lang="en-US" altLang="zh-CN" sz="1200" b="1" dirty="0" err="1">
                <a:solidFill>
                  <a:srgbClr val="FF0000"/>
                </a:solidFill>
              </a:rPr>
              <a:t>Tachina</a:t>
            </a:r>
            <a:r>
              <a:rPr lang="en-US" altLang="zh-CN" sz="1200" b="1" dirty="0">
                <a:solidFill>
                  <a:srgbClr val="FF0000"/>
                </a:solidFill>
              </a:rPr>
              <a:t> Airport</a:t>
            </a:r>
          </a:p>
        </p:txBody>
      </p:sp>
      <p:sp>
        <p:nvSpPr>
          <p:cNvPr id="3" name="TextBox 2">
            <a:extLst>
              <a:ext uri="{FF2B5EF4-FFF2-40B4-BE49-F238E27FC236}">
                <a16:creationId xmlns:a16="http://schemas.microsoft.com/office/drawing/2014/main" id="{1C8A7B06-EB0D-1DCB-CEE1-F8AB7E0C1C10}"/>
              </a:ext>
            </a:extLst>
          </p:cNvPr>
          <p:cNvSpPr txBox="1"/>
          <p:nvPr/>
        </p:nvSpPr>
        <p:spPr>
          <a:xfrm>
            <a:off x="4573572" y="5131709"/>
            <a:ext cx="1522428" cy="307777"/>
          </a:xfrm>
          <a:prstGeom prst="rect">
            <a:avLst/>
          </a:prstGeom>
          <a:noFill/>
        </p:spPr>
        <p:txBody>
          <a:bodyPr wrap="square" lIns="0">
            <a:spAutoFit/>
          </a:bodyPr>
          <a:lstStyle/>
          <a:p>
            <a:r>
              <a:rPr lang="en-US" altLang="zh-CN" sz="1400" b="1" dirty="0"/>
              <a:t>Sea level rise</a:t>
            </a:r>
            <a:r>
              <a:rPr lang="en-US" altLang="zh-CN" sz="1400" dirty="0"/>
              <a:t>: </a:t>
            </a:r>
          </a:p>
        </p:txBody>
      </p:sp>
      <p:sp>
        <p:nvSpPr>
          <p:cNvPr id="5" name="TextBox 4">
            <a:extLst>
              <a:ext uri="{FF2B5EF4-FFF2-40B4-BE49-F238E27FC236}">
                <a16:creationId xmlns:a16="http://schemas.microsoft.com/office/drawing/2014/main" id="{F9C520FF-EB80-7E1D-F13D-BEB243BBBA0C}"/>
              </a:ext>
            </a:extLst>
          </p:cNvPr>
          <p:cNvSpPr txBox="1"/>
          <p:nvPr/>
        </p:nvSpPr>
        <p:spPr>
          <a:xfrm>
            <a:off x="2943907" y="3912422"/>
            <a:ext cx="1717915" cy="276999"/>
          </a:xfrm>
          <a:prstGeom prst="rect">
            <a:avLst/>
          </a:prstGeom>
          <a:noFill/>
        </p:spPr>
        <p:txBody>
          <a:bodyPr wrap="square" lIns="0">
            <a:spAutoFit/>
          </a:bodyPr>
          <a:lstStyle/>
          <a:p>
            <a:r>
              <a:rPr lang="en-US" altLang="zh-CN" sz="1200" b="1" dirty="0">
                <a:solidFill>
                  <a:srgbClr val="FF0000"/>
                </a:solidFill>
              </a:rPr>
              <a:t>Sedimentary Island</a:t>
            </a:r>
          </a:p>
        </p:txBody>
      </p:sp>
      <p:sp>
        <p:nvSpPr>
          <p:cNvPr id="7" name="TextBox 6">
            <a:extLst>
              <a:ext uri="{FF2B5EF4-FFF2-40B4-BE49-F238E27FC236}">
                <a16:creationId xmlns:a16="http://schemas.microsoft.com/office/drawing/2014/main" id="{B35393CB-9F25-0BCC-0F69-A597D959B9FC}"/>
              </a:ext>
            </a:extLst>
          </p:cNvPr>
          <p:cNvSpPr txBox="1"/>
          <p:nvPr/>
        </p:nvSpPr>
        <p:spPr>
          <a:xfrm>
            <a:off x="1309631" y="4854710"/>
            <a:ext cx="1717915" cy="276999"/>
          </a:xfrm>
          <a:prstGeom prst="rect">
            <a:avLst/>
          </a:prstGeom>
          <a:noFill/>
        </p:spPr>
        <p:txBody>
          <a:bodyPr wrap="square" lIns="0">
            <a:spAutoFit/>
          </a:bodyPr>
          <a:lstStyle/>
          <a:p>
            <a:r>
              <a:rPr lang="en-US" altLang="zh-CN" sz="1200" b="1" dirty="0">
                <a:solidFill>
                  <a:srgbClr val="FF0000"/>
                </a:solidFill>
              </a:rPr>
              <a:t>Cerra </a:t>
            </a:r>
            <a:r>
              <a:rPr lang="en-US" altLang="zh-CN" sz="1200" b="1" dirty="0" err="1">
                <a:solidFill>
                  <a:srgbClr val="FF0000"/>
                </a:solidFill>
              </a:rPr>
              <a:t>Gatazo</a:t>
            </a:r>
            <a:endParaRPr lang="en-US" altLang="zh-CN" sz="1200" b="1" dirty="0">
              <a:solidFill>
                <a:srgbClr val="FF0000"/>
              </a:solidFill>
            </a:endParaRPr>
          </a:p>
        </p:txBody>
      </p:sp>
      <p:sp>
        <p:nvSpPr>
          <p:cNvPr id="10" name="Text Placeholder 9">
            <a:extLst>
              <a:ext uri="{FF2B5EF4-FFF2-40B4-BE49-F238E27FC236}">
                <a16:creationId xmlns:a16="http://schemas.microsoft.com/office/drawing/2014/main" id="{3FA81BE1-8153-440F-F327-85918ADD3B5B}"/>
              </a:ext>
            </a:extLst>
          </p:cNvPr>
          <p:cNvSpPr>
            <a:spLocks noGrp="1"/>
          </p:cNvSpPr>
          <p:nvPr>
            <p:ph type="body" sz="quarter" idx="10"/>
          </p:nvPr>
        </p:nvSpPr>
        <p:spPr/>
        <p:txBody>
          <a:bodyPr/>
          <a:lstStyle/>
          <a:p>
            <a:endParaRPr lang="zh-CN" altLang="en-US"/>
          </a:p>
        </p:txBody>
      </p:sp>
      <p:sp>
        <p:nvSpPr>
          <p:cNvPr id="11" name="TextBox 10">
            <a:extLst>
              <a:ext uri="{FF2B5EF4-FFF2-40B4-BE49-F238E27FC236}">
                <a16:creationId xmlns:a16="http://schemas.microsoft.com/office/drawing/2014/main" id="{9CEA10F9-62BC-3E16-01BB-4CDFD32C935E}"/>
              </a:ext>
            </a:extLst>
          </p:cNvPr>
          <p:cNvSpPr txBox="1"/>
          <p:nvPr/>
        </p:nvSpPr>
        <p:spPr>
          <a:xfrm>
            <a:off x="4573572" y="3328510"/>
            <a:ext cx="1522428" cy="307777"/>
          </a:xfrm>
          <a:prstGeom prst="rect">
            <a:avLst/>
          </a:prstGeom>
          <a:noFill/>
        </p:spPr>
        <p:txBody>
          <a:bodyPr wrap="square" lIns="0">
            <a:spAutoFit/>
          </a:bodyPr>
          <a:lstStyle/>
          <a:p>
            <a:r>
              <a:rPr lang="en-US" altLang="zh-CN" sz="1400" b="1" dirty="0"/>
              <a:t>Landslides</a:t>
            </a:r>
            <a:endParaRPr lang="en-US" altLang="zh-CN" sz="1400" dirty="0"/>
          </a:p>
        </p:txBody>
      </p:sp>
    </p:spTree>
    <p:extLst>
      <p:ext uri="{BB962C8B-B14F-4D97-AF65-F5344CB8AC3E}">
        <p14:creationId xmlns:p14="http://schemas.microsoft.com/office/powerpoint/2010/main" val="2445939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16553651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a:xfrm>
            <a:off x="430696" y="248478"/>
            <a:ext cx="10843762" cy="810592"/>
          </a:xfrm>
        </p:spPr>
        <p:txBody>
          <a:bodyPr vert="horz">
            <a:noAutofit/>
          </a:bodyPr>
          <a:lstStyle/>
          <a:p>
            <a:r>
              <a:rPr lang="en-US" sz="2400" dirty="0"/>
              <a:t>Approach: To provide timely and accurate forecasts of extreme precipitation with limited resources,</a:t>
            </a:r>
            <a:r>
              <a:rPr lang="zh-CN" altLang="en-US" sz="2400" dirty="0"/>
              <a:t> </a:t>
            </a:r>
            <a:r>
              <a:rPr lang="en-US" altLang="zh-CN" sz="2400" dirty="0"/>
              <a:t>we</a:t>
            </a:r>
            <a:r>
              <a:rPr lang="zh-CN" altLang="en-US" sz="2400" dirty="0"/>
              <a:t> </a:t>
            </a:r>
            <a:r>
              <a:rPr lang="en-US" altLang="zh-CN" sz="2400" dirty="0"/>
              <a:t>turn</a:t>
            </a:r>
            <a:r>
              <a:rPr lang="zh-CN" altLang="en-US" sz="2400" dirty="0"/>
              <a:t> </a:t>
            </a:r>
            <a:r>
              <a:rPr lang="en-US" altLang="zh-CN" sz="2400" dirty="0"/>
              <a:t>to</a:t>
            </a:r>
            <a:r>
              <a:rPr lang="zh-CN" altLang="en-US" sz="2400" dirty="0"/>
              <a:t> </a:t>
            </a:r>
            <a:r>
              <a:rPr lang="en-US" altLang="zh-CN" sz="2400" dirty="0"/>
              <a:t>AI</a:t>
            </a:r>
            <a:endParaRPr lang="en-US" sz="2400" dirty="0"/>
          </a:p>
        </p:txBody>
      </p:sp>
      <p:pic>
        <p:nvPicPr>
          <p:cNvPr id="2050" name="Picture 2" descr="The quiet revolution of numerical weather prediction | Nature">
            <a:extLst>
              <a:ext uri="{FF2B5EF4-FFF2-40B4-BE49-F238E27FC236}">
                <a16:creationId xmlns:a16="http://schemas.microsoft.com/office/drawing/2014/main" id="{03AE52D9-50E0-763B-C329-5ECFD9C7A4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7901" y="1843518"/>
            <a:ext cx="5272112" cy="3170963"/>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2C3AD30F-CD20-74DF-528D-3403D575DC16}"/>
              </a:ext>
            </a:extLst>
          </p:cNvPr>
          <p:cNvSpPr txBox="1"/>
          <p:nvPr/>
        </p:nvSpPr>
        <p:spPr>
          <a:xfrm>
            <a:off x="419100" y="1208067"/>
            <a:ext cx="4424108" cy="338554"/>
          </a:xfrm>
          <a:prstGeom prst="rect">
            <a:avLst/>
          </a:prstGeom>
          <a:noFill/>
        </p:spPr>
        <p:txBody>
          <a:bodyPr wrap="square" rtlCol="0">
            <a:spAutoFit/>
          </a:bodyPr>
          <a:lstStyle>
            <a:defPPr>
              <a:defRPr lang="en-US"/>
            </a:defPPr>
            <a:lvl1pPr>
              <a:defRPr sz="1600" b="1">
                <a:ea typeface="Calibri" panose="020F0502020204030204" pitchFamily="34" charset="0"/>
                <a:cs typeface="Calibri" panose="020F0502020204030204" pitchFamily="34" charset="0"/>
              </a:defRPr>
            </a:lvl1pPr>
          </a:lstStyle>
          <a:p>
            <a:r>
              <a:rPr lang="en-US" altLang="zh-CN" dirty="0"/>
              <a:t>From traditional numeric model</a:t>
            </a:r>
            <a:endParaRPr lang="zh-CN" altLang="en-US" dirty="0"/>
          </a:p>
        </p:txBody>
      </p:sp>
      <p:cxnSp>
        <p:nvCxnSpPr>
          <p:cNvPr id="34" name="Straight Connector 33">
            <a:extLst>
              <a:ext uri="{FF2B5EF4-FFF2-40B4-BE49-F238E27FC236}">
                <a16:creationId xmlns:a16="http://schemas.microsoft.com/office/drawing/2014/main" id="{A3CEBDB2-9295-3267-8856-E5D629BBAD10}"/>
              </a:ext>
            </a:extLst>
          </p:cNvPr>
          <p:cNvCxnSpPr>
            <a:cxnSpLocks/>
          </p:cNvCxnSpPr>
          <p:nvPr/>
        </p:nvCxnSpPr>
        <p:spPr>
          <a:xfrm>
            <a:off x="527901" y="1602555"/>
            <a:ext cx="533557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8EB628E-A814-EE65-43B2-D4C8A5D8385E}"/>
              </a:ext>
            </a:extLst>
          </p:cNvPr>
          <p:cNvSpPr txBox="1"/>
          <p:nvPr/>
        </p:nvSpPr>
        <p:spPr>
          <a:xfrm>
            <a:off x="6096000" y="1208067"/>
            <a:ext cx="4424108" cy="338554"/>
          </a:xfrm>
          <a:prstGeom prst="rect">
            <a:avLst/>
          </a:prstGeom>
          <a:noFill/>
        </p:spPr>
        <p:txBody>
          <a:bodyPr wrap="square" rtlCol="0">
            <a:spAutoFit/>
          </a:bodyPr>
          <a:lstStyle>
            <a:defPPr>
              <a:defRPr lang="en-US"/>
            </a:defPPr>
            <a:lvl1pPr>
              <a:defRPr sz="1600" b="1">
                <a:ea typeface="Calibri" panose="020F0502020204030204" pitchFamily="34" charset="0"/>
                <a:cs typeface="Calibri" panose="020F0502020204030204" pitchFamily="34" charset="0"/>
              </a:defRPr>
            </a:lvl1pPr>
          </a:lstStyle>
          <a:p>
            <a:r>
              <a:rPr lang="en-US" altLang="zh-CN" dirty="0"/>
              <a:t>To data-driven AI model</a:t>
            </a:r>
            <a:endParaRPr lang="zh-CN" altLang="en-US" dirty="0"/>
          </a:p>
        </p:txBody>
      </p:sp>
      <p:cxnSp>
        <p:nvCxnSpPr>
          <p:cNvPr id="39" name="Straight Connector 38">
            <a:extLst>
              <a:ext uri="{FF2B5EF4-FFF2-40B4-BE49-F238E27FC236}">
                <a16:creationId xmlns:a16="http://schemas.microsoft.com/office/drawing/2014/main" id="{DAAFCC8A-757F-0520-6E70-7DF6326A696E}"/>
              </a:ext>
            </a:extLst>
          </p:cNvPr>
          <p:cNvCxnSpPr>
            <a:cxnSpLocks/>
          </p:cNvCxnSpPr>
          <p:nvPr/>
        </p:nvCxnSpPr>
        <p:spPr>
          <a:xfrm>
            <a:off x="6204801" y="1602555"/>
            <a:ext cx="533557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D2FC65D-DD6A-928A-C26C-28BB1323C362}"/>
              </a:ext>
            </a:extLst>
          </p:cNvPr>
          <p:cNvSpPr txBox="1"/>
          <p:nvPr/>
        </p:nvSpPr>
        <p:spPr>
          <a:xfrm>
            <a:off x="527901" y="5170600"/>
            <a:ext cx="5371435" cy="1200329"/>
          </a:xfrm>
          <a:prstGeom prst="rect">
            <a:avLst/>
          </a:prstGeom>
          <a:noFill/>
        </p:spPr>
        <p:txBody>
          <a:bodyPr wrap="square">
            <a:spAutoFit/>
          </a:bodyPr>
          <a:lstStyle/>
          <a:p>
            <a:pPr marL="171450" indent="-171450">
              <a:buFont typeface="Arial" panose="020B0604020202020204" pitchFamily="34" charset="0"/>
              <a:buChar char="•"/>
            </a:pPr>
            <a:r>
              <a:rPr lang="en-US" altLang="zh-CN" sz="1200" dirty="0"/>
              <a:t>Strict requirement of multiple sources of meteorological data collection</a:t>
            </a:r>
          </a:p>
          <a:p>
            <a:pPr marL="171450" indent="-171450">
              <a:buFont typeface="Arial" panose="020B0604020202020204" pitchFamily="34" charset="0"/>
              <a:buChar char="•"/>
            </a:pPr>
            <a:r>
              <a:rPr lang="en-US" altLang="zh-CN" sz="1200" dirty="0"/>
              <a:t>Complicate modeling base on discipline of traditional physics to include every variables</a:t>
            </a:r>
          </a:p>
          <a:p>
            <a:pPr marL="171450" indent="-171450">
              <a:buFont typeface="Arial" panose="020B0604020202020204" pitchFamily="34" charset="0"/>
              <a:buChar char="•"/>
            </a:pPr>
            <a:r>
              <a:rPr lang="en-US" altLang="zh-CN" sz="1200" dirty="0"/>
              <a:t>Deductive nature of the model with integration calculation</a:t>
            </a:r>
          </a:p>
          <a:p>
            <a:pPr marL="171450" indent="-171450">
              <a:buFont typeface="Arial" panose="020B0604020202020204" pitchFamily="34" charset="0"/>
              <a:buChar char="•"/>
            </a:pPr>
            <a:r>
              <a:rPr lang="en-US" altLang="zh-CN" sz="1200" dirty="0"/>
              <a:t>High consumption of computing power and slow computation speed due to complexity of model</a:t>
            </a:r>
          </a:p>
        </p:txBody>
      </p:sp>
      <p:sp>
        <p:nvSpPr>
          <p:cNvPr id="41" name="Arrow: Right 40">
            <a:extLst>
              <a:ext uri="{FF2B5EF4-FFF2-40B4-BE49-F238E27FC236}">
                <a16:creationId xmlns:a16="http://schemas.microsoft.com/office/drawing/2014/main" id="{08ADEC97-8FF4-8F6F-399A-CC7B4CE15BAC}"/>
              </a:ext>
            </a:extLst>
          </p:cNvPr>
          <p:cNvSpPr/>
          <p:nvPr/>
        </p:nvSpPr>
        <p:spPr>
          <a:xfrm>
            <a:off x="5825885" y="3600670"/>
            <a:ext cx="528517" cy="338554"/>
          </a:xfrm>
          <a:prstGeom prst="rightArrow">
            <a:avLst/>
          </a:prstGeom>
          <a:solidFill>
            <a:schemeClr val="tx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52" name="Picture 4">
            <a:extLst>
              <a:ext uri="{FF2B5EF4-FFF2-40B4-BE49-F238E27FC236}">
                <a16:creationId xmlns:a16="http://schemas.microsoft.com/office/drawing/2014/main" id="{524835E6-389C-B2AB-D10C-3C665A60F2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04801" y="1343121"/>
            <a:ext cx="5192205" cy="5192205"/>
          </a:xfrm>
          <a:prstGeom prst="rect">
            <a:avLst/>
          </a:prstGeom>
          <a:noFill/>
          <a:extLst>
            <a:ext uri="{909E8E84-426E-40DD-AFC4-6F175D3DCCD1}">
              <a14:hiddenFill xmlns:a14="http://schemas.microsoft.com/office/drawing/2010/main">
                <a:solidFill>
                  <a:srgbClr val="FFFFFF"/>
                </a:solidFill>
              </a14:hiddenFill>
            </a:ext>
          </a:extLst>
        </p:spPr>
      </p:pic>
      <p:sp>
        <p:nvSpPr>
          <p:cNvPr id="43" name="Callout: Bent Line 42">
            <a:extLst>
              <a:ext uri="{FF2B5EF4-FFF2-40B4-BE49-F238E27FC236}">
                <a16:creationId xmlns:a16="http://schemas.microsoft.com/office/drawing/2014/main" id="{B7F0E4DF-9079-F1CB-2598-C772A8C3BDB4}"/>
              </a:ext>
            </a:extLst>
          </p:cNvPr>
          <p:cNvSpPr/>
          <p:nvPr/>
        </p:nvSpPr>
        <p:spPr>
          <a:xfrm>
            <a:off x="9944716" y="2738290"/>
            <a:ext cx="1828184" cy="853991"/>
          </a:xfrm>
          <a:prstGeom prst="borderCallout2">
            <a:avLst>
              <a:gd name="adj1" fmla="val 18750"/>
              <a:gd name="adj2" fmla="val -8333"/>
              <a:gd name="adj3" fmla="val 18750"/>
              <a:gd name="adj4" fmla="val -16667"/>
              <a:gd name="adj5" fmla="val 119353"/>
              <a:gd name="adj6" fmla="val -47889"/>
            </a:avLst>
          </a:prstGeom>
          <a:solidFill>
            <a:schemeClr val="tx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accent1"/>
                </a:solidFill>
              </a:rPr>
              <a:t>Simplified modeling with mature practices proven to work, no background knowledge required</a:t>
            </a:r>
            <a:endParaRPr lang="zh-CN" altLang="en-US" sz="1200" dirty="0">
              <a:solidFill>
                <a:schemeClr val="accent1"/>
              </a:solidFill>
            </a:endParaRPr>
          </a:p>
        </p:txBody>
      </p:sp>
      <p:sp>
        <p:nvSpPr>
          <p:cNvPr id="5" name="Text Placeholder 4">
            <a:extLst>
              <a:ext uri="{FF2B5EF4-FFF2-40B4-BE49-F238E27FC236}">
                <a16:creationId xmlns:a16="http://schemas.microsoft.com/office/drawing/2014/main" id="{FB80345B-8117-2632-7A3A-846BFF33624F}"/>
              </a:ext>
            </a:extLst>
          </p:cNvPr>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1597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2183555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a:xfrm>
            <a:off x="430696" y="248478"/>
            <a:ext cx="10843762" cy="810592"/>
          </a:xfrm>
        </p:spPr>
        <p:txBody>
          <a:bodyPr vert="horz">
            <a:noAutofit/>
          </a:bodyPr>
          <a:lstStyle/>
          <a:p>
            <a:r>
              <a:rPr lang="en-US" sz="2400" dirty="0"/>
              <a:t>Given limited number of available X variables, we involve inputs from other models to enhance the model’s Capacity</a:t>
            </a:r>
          </a:p>
        </p:txBody>
      </p:sp>
      <p:sp>
        <p:nvSpPr>
          <p:cNvPr id="8" name="Text Placeholder 7">
            <a:extLst>
              <a:ext uri="{FF2B5EF4-FFF2-40B4-BE49-F238E27FC236}">
                <a16:creationId xmlns:a16="http://schemas.microsoft.com/office/drawing/2014/main" id="{A3E3216D-1333-6F1C-AA06-15A0971AD856}"/>
              </a:ext>
            </a:extLst>
          </p:cNvPr>
          <p:cNvSpPr>
            <a:spLocks noGrp="1"/>
          </p:cNvSpPr>
          <p:nvPr>
            <p:ph type="body" sz="quarter" idx="10"/>
          </p:nvPr>
        </p:nvSpPr>
        <p:spPr/>
        <p:txBody>
          <a:bodyPr/>
          <a:lstStyle/>
          <a:p>
            <a:endParaRPr lang="zh-CN" altLang="en-US"/>
          </a:p>
        </p:txBody>
      </p:sp>
      <p:pic>
        <p:nvPicPr>
          <p:cNvPr id="10" name="Picture 4" descr="random forest classifier">
            <a:extLst>
              <a:ext uri="{FF2B5EF4-FFF2-40B4-BE49-F238E27FC236}">
                <a16:creationId xmlns:a16="http://schemas.microsoft.com/office/drawing/2014/main" id="{81E429FC-BB35-439B-949C-39CF017472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6200000">
            <a:off x="6591818" y="2532879"/>
            <a:ext cx="3348742" cy="251155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04AA759-A723-4B32-93FF-CF2BF85F0702}"/>
              </a:ext>
            </a:extLst>
          </p:cNvPr>
          <p:cNvSpPr txBox="1"/>
          <p:nvPr/>
        </p:nvSpPr>
        <p:spPr>
          <a:xfrm>
            <a:off x="4421777" y="1218980"/>
            <a:ext cx="224996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a:solidFill>
                  <a:srgbClr val="32266B"/>
                </a:solidFill>
                <a:latin typeface="Arial" panose="020B0604020202020204" pitchFamily="34" charset="0"/>
                <a:cs typeface="Arial" panose="020B0604020202020204" pitchFamily="34" charset="0"/>
              </a:defRPr>
            </a:lvl1pPr>
          </a:lstStyle>
          <a:p>
            <a:r>
              <a:rPr lang="en-US" sz="1400" dirty="0"/>
              <a:t>Vector of features</a:t>
            </a:r>
          </a:p>
        </p:txBody>
      </p:sp>
      <p:sp>
        <p:nvSpPr>
          <p:cNvPr id="12" name="TextBox 11">
            <a:extLst>
              <a:ext uri="{FF2B5EF4-FFF2-40B4-BE49-F238E27FC236}">
                <a16:creationId xmlns:a16="http://schemas.microsoft.com/office/drawing/2014/main" id="{D0393965-CA1B-C8B4-E2C9-B421013C2C67}"/>
              </a:ext>
            </a:extLst>
          </p:cNvPr>
          <p:cNvSpPr txBox="1"/>
          <p:nvPr/>
        </p:nvSpPr>
        <p:spPr>
          <a:xfrm>
            <a:off x="7375613" y="1218980"/>
            <a:ext cx="235299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a:solidFill>
                  <a:srgbClr val="32266B"/>
                </a:solidFill>
                <a:latin typeface="Arial" panose="020B0604020202020204" pitchFamily="34" charset="0"/>
                <a:cs typeface="Arial" panose="020B0604020202020204" pitchFamily="34" charset="0"/>
              </a:defRPr>
            </a:lvl1pPr>
          </a:lstStyle>
          <a:p>
            <a:r>
              <a:rPr lang="en-US" sz="1400" dirty="0"/>
              <a:t>AI model</a:t>
            </a:r>
          </a:p>
        </p:txBody>
      </p:sp>
      <p:sp>
        <p:nvSpPr>
          <p:cNvPr id="15" name="TextBox 14">
            <a:extLst>
              <a:ext uri="{FF2B5EF4-FFF2-40B4-BE49-F238E27FC236}">
                <a16:creationId xmlns:a16="http://schemas.microsoft.com/office/drawing/2014/main" id="{316C5B94-8A9A-1D2F-386D-114CE418F2FC}"/>
              </a:ext>
            </a:extLst>
          </p:cNvPr>
          <p:cNvSpPr txBox="1"/>
          <p:nvPr/>
        </p:nvSpPr>
        <p:spPr>
          <a:xfrm>
            <a:off x="10266301" y="1218980"/>
            <a:ext cx="235721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a:solidFill>
                  <a:srgbClr val="32266B"/>
                </a:solidFill>
                <a:latin typeface="Arial" panose="020B0604020202020204" pitchFamily="34" charset="0"/>
                <a:cs typeface="Arial" panose="020B0604020202020204" pitchFamily="34" charset="0"/>
              </a:defRPr>
            </a:lvl1pPr>
          </a:lstStyle>
          <a:p>
            <a:r>
              <a:rPr lang="en-US" altLang="zh-CN" sz="1400" dirty="0"/>
              <a:t>Bulletin generation</a:t>
            </a:r>
            <a:endParaRPr lang="en-US" sz="1400" dirty="0"/>
          </a:p>
        </p:txBody>
      </p:sp>
      <p:sp>
        <p:nvSpPr>
          <p:cNvPr id="16" name="TextBox 15">
            <a:extLst>
              <a:ext uri="{FF2B5EF4-FFF2-40B4-BE49-F238E27FC236}">
                <a16:creationId xmlns:a16="http://schemas.microsoft.com/office/drawing/2014/main" id="{B92A8D62-0056-0624-21E4-A40FA09C878F}"/>
              </a:ext>
            </a:extLst>
          </p:cNvPr>
          <p:cNvSpPr txBox="1"/>
          <p:nvPr/>
        </p:nvSpPr>
        <p:spPr>
          <a:xfrm>
            <a:off x="215541" y="1201562"/>
            <a:ext cx="195606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solidFill>
                  <a:srgbClr val="32266B"/>
                </a:solidFill>
                <a:latin typeface="Arial" panose="020B0604020202020204" pitchFamily="34" charset="0"/>
                <a:cs typeface="Arial" panose="020B0604020202020204" pitchFamily="34" charset="0"/>
              </a:rPr>
              <a:t>Historical data </a:t>
            </a:r>
            <a:r>
              <a:rPr lang="en-US" altLang="zh-CN" sz="1400" dirty="0">
                <a:solidFill>
                  <a:srgbClr val="32266B"/>
                </a:solidFill>
                <a:latin typeface="Arial" panose="020B0604020202020204" pitchFamily="34" charset="0"/>
                <a:cs typeface="Arial" panose="020B0604020202020204" pitchFamily="34" charset="0"/>
              </a:rPr>
              <a:t>input</a:t>
            </a:r>
            <a:endParaRPr lang="en-US" sz="1400" dirty="0">
              <a:solidFill>
                <a:srgbClr val="32266B"/>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11DDD78-0386-5B2D-C6CF-36EEC856E7E2}"/>
              </a:ext>
            </a:extLst>
          </p:cNvPr>
          <p:cNvCxnSpPr>
            <a:cxnSpLocks/>
          </p:cNvCxnSpPr>
          <p:nvPr/>
        </p:nvCxnSpPr>
        <p:spPr>
          <a:xfrm>
            <a:off x="306341" y="1518643"/>
            <a:ext cx="3850815"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0AA7A05-C148-F57F-FD70-56BCB7EE7DFE}"/>
              </a:ext>
            </a:extLst>
          </p:cNvPr>
          <p:cNvSpPr txBox="1"/>
          <p:nvPr/>
        </p:nvSpPr>
        <p:spPr>
          <a:xfrm>
            <a:off x="221995" y="1526213"/>
            <a:ext cx="299463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Physical sensor deployed by CAE</a:t>
            </a:r>
          </a:p>
        </p:txBody>
      </p:sp>
      <p:sp>
        <p:nvSpPr>
          <p:cNvPr id="24" name="TextBox 23">
            <a:extLst>
              <a:ext uri="{FF2B5EF4-FFF2-40B4-BE49-F238E27FC236}">
                <a16:creationId xmlns:a16="http://schemas.microsoft.com/office/drawing/2014/main" id="{FB5B7794-35BC-81B9-5724-145C51329154}"/>
              </a:ext>
            </a:extLst>
          </p:cNvPr>
          <p:cNvSpPr txBox="1"/>
          <p:nvPr/>
        </p:nvSpPr>
        <p:spPr>
          <a:xfrm>
            <a:off x="221995" y="3271273"/>
            <a:ext cx="4405424" cy="3488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000"/>
              </a:lnSpc>
            </a:pPr>
            <a:r>
              <a:rPr lang="en-US" sz="1100" dirty="0">
                <a:latin typeface="Arial" panose="020B0604020202020204" pitchFamily="34" charset="0"/>
                <a:cs typeface="Arial" panose="020B0604020202020204" pitchFamily="34" charset="0"/>
              </a:rPr>
              <a:t>PERSIANN-CCS: rainfall estimation based on satellite infrared images of cloud-</a:t>
            </a:r>
            <a:r>
              <a:rPr lang="en-US" sz="1100" dirty="0" err="1">
                <a:latin typeface="Arial" panose="020B0604020202020204" pitchFamily="34" charset="0"/>
                <a:cs typeface="Arial" panose="020B0604020202020204" pitchFamily="34" charset="0"/>
              </a:rPr>
              <a:t>patchs</a:t>
            </a:r>
            <a:r>
              <a:rPr lang="en-US" sz="1100" dirty="0">
                <a:latin typeface="Arial" panose="020B0604020202020204" pitchFamily="34" charset="0"/>
                <a:cs typeface="Arial" panose="020B0604020202020204" pitchFamily="34" charset="0"/>
              </a:rPr>
              <a:t>, by UC Irvine</a:t>
            </a:r>
          </a:p>
        </p:txBody>
      </p:sp>
      <p:sp>
        <p:nvSpPr>
          <p:cNvPr id="25" name="TextBox 24">
            <a:extLst>
              <a:ext uri="{FF2B5EF4-FFF2-40B4-BE49-F238E27FC236}">
                <a16:creationId xmlns:a16="http://schemas.microsoft.com/office/drawing/2014/main" id="{736D2F9A-CBE5-CB3C-8BD9-0BF1AC526AFF}"/>
              </a:ext>
            </a:extLst>
          </p:cNvPr>
          <p:cNvSpPr txBox="1"/>
          <p:nvPr/>
        </p:nvSpPr>
        <p:spPr>
          <a:xfrm>
            <a:off x="241668" y="4898060"/>
            <a:ext cx="2722512" cy="2235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000"/>
              </a:lnSpc>
            </a:pPr>
            <a:r>
              <a:rPr lang="en-US" sz="1200" dirty="0">
                <a:latin typeface="Arial" panose="020B0604020202020204" pitchFamily="34" charset="0"/>
                <a:cs typeface="Arial" panose="020B0604020202020204" pitchFamily="34" charset="0"/>
              </a:rPr>
              <a:t>WRF </a:t>
            </a:r>
          </a:p>
        </p:txBody>
      </p:sp>
      <p:pic>
        <p:nvPicPr>
          <p:cNvPr id="27" name="Image 35" descr="Immagine che contiene terra, cielo, esterni  Descrizione generata automaticamente">
            <a:extLst>
              <a:ext uri="{FF2B5EF4-FFF2-40B4-BE49-F238E27FC236}">
                <a16:creationId xmlns:a16="http://schemas.microsoft.com/office/drawing/2014/main" id="{263C9091-B008-0917-34D4-00AD3FB53E1D}"/>
              </a:ext>
            </a:extLst>
          </p:cNvPr>
          <p:cNvPicPr>
            <a:picLocks noChangeAspect="1"/>
          </p:cNvPicPr>
          <p:nvPr/>
        </p:nvPicPr>
        <p:blipFill rotWithShape="1">
          <a:blip r:embed="rId7" cstate="print"/>
          <a:srcRect t="18533"/>
          <a:stretch/>
        </p:blipFill>
        <p:spPr>
          <a:xfrm>
            <a:off x="322514" y="1856183"/>
            <a:ext cx="2159468" cy="1364332"/>
          </a:xfrm>
          <a:prstGeom prst="rect">
            <a:avLst/>
          </a:prstGeom>
        </p:spPr>
      </p:pic>
      <p:pic>
        <p:nvPicPr>
          <p:cNvPr id="28" name="Picture 27">
            <a:extLst>
              <a:ext uri="{FF2B5EF4-FFF2-40B4-BE49-F238E27FC236}">
                <a16:creationId xmlns:a16="http://schemas.microsoft.com/office/drawing/2014/main" id="{8BE961B7-1288-A3DF-4551-45A856EEA348}"/>
              </a:ext>
            </a:extLst>
          </p:cNvPr>
          <p:cNvPicPr>
            <a:picLocks noChangeAspect="1"/>
          </p:cNvPicPr>
          <p:nvPr/>
        </p:nvPicPr>
        <p:blipFill rotWithShape="1">
          <a:blip r:embed="rId8"/>
          <a:srcRect r="31918"/>
          <a:stretch/>
        </p:blipFill>
        <p:spPr>
          <a:xfrm>
            <a:off x="2592043" y="1836610"/>
            <a:ext cx="1565114" cy="737836"/>
          </a:xfrm>
          <a:prstGeom prst="rect">
            <a:avLst/>
          </a:prstGeom>
        </p:spPr>
      </p:pic>
      <p:pic>
        <p:nvPicPr>
          <p:cNvPr id="30" name="Picture 29">
            <a:extLst>
              <a:ext uri="{FF2B5EF4-FFF2-40B4-BE49-F238E27FC236}">
                <a16:creationId xmlns:a16="http://schemas.microsoft.com/office/drawing/2014/main" id="{269145EB-263E-0C26-C4C2-B95A7C2DE06F}"/>
              </a:ext>
            </a:extLst>
          </p:cNvPr>
          <p:cNvPicPr>
            <a:picLocks noChangeAspect="1"/>
          </p:cNvPicPr>
          <p:nvPr/>
        </p:nvPicPr>
        <p:blipFill rotWithShape="1">
          <a:blip r:embed="rId9"/>
          <a:srcRect r="31918"/>
          <a:stretch/>
        </p:blipFill>
        <p:spPr>
          <a:xfrm>
            <a:off x="2592043" y="2596412"/>
            <a:ext cx="1565113" cy="653991"/>
          </a:xfrm>
          <a:prstGeom prst="rect">
            <a:avLst/>
          </a:prstGeom>
        </p:spPr>
      </p:pic>
      <p:pic>
        <p:nvPicPr>
          <p:cNvPr id="31" name="Picture 30">
            <a:extLst>
              <a:ext uri="{FF2B5EF4-FFF2-40B4-BE49-F238E27FC236}">
                <a16:creationId xmlns:a16="http://schemas.microsoft.com/office/drawing/2014/main" id="{0F1CA3A5-4FA3-160C-9D9E-EB57500982E9}"/>
              </a:ext>
            </a:extLst>
          </p:cNvPr>
          <p:cNvPicPr>
            <a:picLocks noChangeAspect="1"/>
          </p:cNvPicPr>
          <p:nvPr/>
        </p:nvPicPr>
        <p:blipFill rotWithShape="1">
          <a:blip r:embed="rId10"/>
          <a:srcRect l="5299" r="4492"/>
          <a:stretch/>
        </p:blipFill>
        <p:spPr>
          <a:xfrm>
            <a:off x="322514" y="3611261"/>
            <a:ext cx="2272937" cy="1222661"/>
          </a:xfrm>
          <a:prstGeom prst="rect">
            <a:avLst/>
          </a:prstGeom>
        </p:spPr>
      </p:pic>
      <p:pic>
        <p:nvPicPr>
          <p:cNvPr id="32" name="Picture 31">
            <a:extLst>
              <a:ext uri="{FF2B5EF4-FFF2-40B4-BE49-F238E27FC236}">
                <a16:creationId xmlns:a16="http://schemas.microsoft.com/office/drawing/2014/main" id="{60219A78-770E-7F5B-531E-6A9B977F97BB}"/>
              </a:ext>
            </a:extLst>
          </p:cNvPr>
          <p:cNvPicPr>
            <a:picLocks noChangeAspect="1"/>
          </p:cNvPicPr>
          <p:nvPr/>
        </p:nvPicPr>
        <p:blipFill>
          <a:blip r:embed="rId11"/>
          <a:stretch>
            <a:fillRect/>
          </a:stretch>
        </p:blipFill>
        <p:spPr>
          <a:xfrm>
            <a:off x="2864719" y="3609669"/>
            <a:ext cx="1292437" cy="1219452"/>
          </a:xfrm>
          <a:prstGeom prst="rect">
            <a:avLst/>
          </a:prstGeom>
        </p:spPr>
      </p:pic>
      <p:pic>
        <p:nvPicPr>
          <p:cNvPr id="33" name="Picture 2">
            <a:extLst>
              <a:ext uri="{FF2B5EF4-FFF2-40B4-BE49-F238E27FC236}">
                <a16:creationId xmlns:a16="http://schemas.microsoft.com/office/drawing/2014/main" id="{E640C855-B5BC-2355-A2EE-C6BC0F7F0BB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1612" b="12067"/>
          <a:stretch/>
        </p:blipFill>
        <p:spPr bwMode="auto">
          <a:xfrm>
            <a:off x="322514" y="5112351"/>
            <a:ext cx="1979716" cy="131299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C44C9BD0-6037-B28B-D765-0BF71C9776F0}"/>
              </a:ext>
            </a:extLst>
          </p:cNvPr>
          <p:cNvPicPr>
            <a:picLocks noChangeAspect="1"/>
          </p:cNvPicPr>
          <p:nvPr/>
        </p:nvPicPr>
        <p:blipFill>
          <a:blip r:embed="rId13"/>
          <a:stretch>
            <a:fillRect/>
          </a:stretch>
        </p:blipFill>
        <p:spPr>
          <a:xfrm>
            <a:off x="2864720" y="5170300"/>
            <a:ext cx="1292436" cy="1190157"/>
          </a:xfrm>
          <a:prstGeom prst="rect">
            <a:avLst/>
          </a:prstGeom>
        </p:spPr>
      </p:pic>
      <p:graphicFrame>
        <p:nvGraphicFramePr>
          <p:cNvPr id="35" name="Table 29">
            <a:extLst>
              <a:ext uri="{FF2B5EF4-FFF2-40B4-BE49-F238E27FC236}">
                <a16:creationId xmlns:a16="http://schemas.microsoft.com/office/drawing/2014/main" id="{B726C953-0B81-9214-F494-B4216A3B57FD}"/>
              </a:ext>
            </a:extLst>
          </p:cNvPr>
          <p:cNvGraphicFramePr>
            <a:graphicFrameLocks noGrp="1"/>
          </p:cNvGraphicFramePr>
          <p:nvPr>
            <p:extLst>
              <p:ext uri="{D42A27DB-BD31-4B8C-83A1-F6EECF244321}">
                <p14:modId xmlns:p14="http://schemas.microsoft.com/office/powerpoint/2010/main" val="2216142993"/>
              </p:ext>
            </p:extLst>
          </p:nvPr>
        </p:nvGraphicFramePr>
        <p:xfrm>
          <a:off x="4545888" y="1832865"/>
          <a:ext cx="500695" cy="4527585"/>
        </p:xfrm>
        <a:graphic>
          <a:graphicData uri="http://schemas.openxmlformats.org/drawingml/2006/table">
            <a:tbl>
              <a:tblPr>
                <a:tableStyleId>{5C22544A-7EE6-4342-B048-85BDC9FD1C3A}</a:tableStyleId>
              </a:tblPr>
              <a:tblGrid>
                <a:gridCol w="500695">
                  <a:extLst>
                    <a:ext uri="{9D8B030D-6E8A-4147-A177-3AD203B41FA5}">
                      <a16:colId xmlns:a16="http://schemas.microsoft.com/office/drawing/2014/main" val="3241500423"/>
                    </a:ext>
                  </a:extLst>
                </a:gridCol>
              </a:tblGrid>
              <a:tr h="301839">
                <a:tc>
                  <a:txBody>
                    <a:bodyPr/>
                    <a:lstStyle/>
                    <a:p>
                      <a:pPr algn="ctr"/>
                      <a:r>
                        <a:rPr lang="en-US" sz="1000" dirty="0"/>
                        <a:t>Y</a:t>
                      </a:r>
                    </a:p>
                  </a:txBody>
                  <a:tcPr>
                    <a:solidFill>
                      <a:schemeClr val="tx1">
                        <a:lumMod val="20000"/>
                        <a:lumOff val="80000"/>
                      </a:schemeClr>
                    </a:solidFill>
                  </a:tcPr>
                </a:tc>
                <a:extLst>
                  <a:ext uri="{0D108BD9-81ED-4DB2-BD59-A6C34878D82A}">
                    <a16:rowId xmlns:a16="http://schemas.microsoft.com/office/drawing/2014/main" val="2270858116"/>
                  </a:ext>
                </a:extLst>
              </a:tr>
              <a:tr h="301839">
                <a:tc>
                  <a:txBody>
                    <a:bodyPr/>
                    <a:lstStyle/>
                    <a:p>
                      <a:pPr algn="ctr"/>
                      <a:r>
                        <a:rPr lang="en-US" sz="1000" dirty="0"/>
                        <a:t>X_1</a:t>
                      </a:r>
                    </a:p>
                  </a:txBody>
                  <a:tcPr/>
                </a:tc>
                <a:extLst>
                  <a:ext uri="{0D108BD9-81ED-4DB2-BD59-A6C34878D82A}">
                    <a16:rowId xmlns:a16="http://schemas.microsoft.com/office/drawing/2014/main" val="3239559917"/>
                  </a:ext>
                </a:extLst>
              </a:tr>
              <a:tr h="301839">
                <a:tc>
                  <a:txBody>
                    <a:bodyPr/>
                    <a:lstStyle/>
                    <a:p>
                      <a:pPr algn="ctr"/>
                      <a:r>
                        <a:rPr lang="en-US" sz="1000" dirty="0"/>
                        <a:t>X_2</a:t>
                      </a:r>
                    </a:p>
                  </a:txBody>
                  <a:tcPr/>
                </a:tc>
                <a:extLst>
                  <a:ext uri="{0D108BD9-81ED-4DB2-BD59-A6C34878D82A}">
                    <a16:rowId xmlns:a16="http://schemas.microsoft.com/office/drawing/2014/main" val="1616919228"/>
                  </a:ext>
                </a:extLst>
              </a:tr>
              <a:tr h="301839">
                <a:tc>
                  <a:txBody>
                    <a:bodyPr/>
                    <a:lstStyle/>
                    <a:p>
                      <a:pPr algn="ctr"/>
                      <a:r>
                        <a:rPr lang="en-US" sz="1000" dirty="0"/>
                        <a:t>…</a:t>
                      </a:r>
                    </a:p>
                  </a:txBody>
                  <a:tcPr/>
                </a:tc>
                <a:extLst>
                  <a:ext uri="{0D108BD9-81ED-4DB2-BD59-A6C34878D82A}">
                    <a16:rowId xmlns:a16="http://schemas.microsoft.com/office/drawing/2014/main" val="841260146"/>
                  </a:ext>
                </a:extLst>
              </a:tr>
              <a:tr h="301839">
                <a:tc>
                  <a:txBody>
                    <a:bodyPr/>
                    <a:lstStyle/>
                    <a:p>
                      <a:endParaRPr lang="en-US" sz="1000"/>
                    </a:p>
                  </a:txBody>
                  <a:tcPr/>
                </a:tc>
                <a:extLst>
                  <a:ext uri="{0D108BD9-81ED-4DB2-BD59-A6C34878D82A}">
                    <a16:rowId xmlns:a16="http://schemas.microsoft.com/office/drawing/2014/main" val="1768077596"/>
                  </a:ext>
                </a:extLst>
              </a:tr>
              <a:tr h="301839">
                <a:tc>
                  <a:txBody>
                    <a:bodyPr/>
                    <a:lstStyle/>
                    <a:p>
                      <a:endParaRPr lang="en-US" sz="1000"/>
                    </a:p>
                  </a:txBody>
                  <a:tcPr/>
                </a:tc>
                <a:extLst>
                  <a:ext uri="{0D108BD9-81ED-4DB2-BD59-A6C34878D82A}">
                    <a16:rowId xmlns:a16="http://schemas.microsoft.com/office/drawing/2014/main" val="487427592"/>
                  </a:ext>
                </a:extLst>
              </a:tr>
              <a:tr h="301839">
                <a:tc>
                  <a:txBody>
                    <a:bodyPr/>
                    <a:lstStyle/>
                    <a:p>
                      <a:endParaRPr lang="en-US" sz="1000"/>
                    </a:p>
                  </a:txBody>
                  <a:tcPr/>
                </a:tc>
                <a:extLst>
                  <a:ext uri="{0D108BD9-81ED-4DB2-BD59-A6C34878D82A}">
                    <a16:rowId xmlns:a16="http://schemas.microsoft.com/office/drawing/2014/main" val="497588125"/>
                  </a:ext>
                </a:extLst>
              </a:tr>
              <a:tr h="301839">
                <a:tc>
                  <a:txBody>
                    <a:bodyPr/>
                    <a:lstStyle/>
                    <a:p>
                      <a:endParaRPr lang="en-US" sz="1000" dirty="0"/>
                    </a:p>
                  </a:txBody>
                  <a:tcPr/>
                </a:tc>
                <a:extLst>
                  <a:ext uri="{0D108BD9-81ED-4DB2-BD59-A6C34878D82A}">
                    <a16:rowId xmlns:a16="http://schemas.microsoft.com/office/drawing/2014/main" val="4213923771"/>
                  </a:ext>
                </a:extLst>
              </a:tr>
              <a:tr h="301839">
                <a:tc>
                  <a:txBody>
                    <a:bodyPr/>
                    <a:lstStyle/>
                    <a:p>
                      <a:endParaRPr lang="en-US" sz="1000" dirty="0"/>
                    </a:p>
                  </a:txBody>
                  <a:tcPr/>
                </a:tc>
                <a:extLst>
                  <a:ext uri="{0D108BD9-81ED-4DB2-BD59-A6C34878D82A}">
                    <a16:rowId xmlns:a16="http://schemas.microsoft.com/office/drawing/2014/main" val="370641244"/>
                  </a:ext>
                </a:extLst>
              </a:tr>
              <a:tr h="301839">
                <a:tc>
                  <a:txBody>
                    <a:bodyPr/>
                    <a:lstStyle/>
                    <a:p>
                      <a:endParaRPr lang="en-US" sz="1000" dirty="0"/>
                    </a:p>
                  </a:txBody>
                  <a:tcPr/>
                </a:tc>
                <a:extLst>
                  <a:ext uri="{0D108BD9-81ED-4DB2-BD59-A6C34878D82A}">
                    <a16:rowId xmlns:a16="http://schemas.microsoft.com/office/drawing/2014/main" val="3819756582"/>
                  </a:ext>
                </a:extLst>
              </a:tr>
              <a:tr h="301839">
                <a:tc>
                  <a:txBody>
                    <a:bodyPr/>
                    <a:lstStyle/>
                    <a:p>
                      <a:endParaRPr lang="en-US" sz="1000" dirty="0"/>
                    </a:p>
                  </a:txBody>
                  <a:tcPr/>
                </a:tc>
                <a:extLst>
                  <a:ext uri="{0D108BD9-81ED-4DB2-BD59-A6C34878D82A}">
                    <a16:rowId xmlns:a16="http://schemas.microsoft.com/office/drawing/2014/main" val="951609336"/>
                  </a:ext>
                </a:extLst>
              </a:tr>
              <a:tr h="301839">
                <a:tc>
                  <a:txBody>
                    <a:bodyPr/>
                    <a:lstStyle/>
                    <a:p>
                      <a:endParaRPr lang="en-US" sz="1000" dirty="0"/>
                    </a:p>
                  </a:txBody>
                  <a:tcPr/>
                </a:tc>
                <a:extLst>
                  <a:ext uri="{0D108BD9-81ED-4DB2-BD59-A6C34878D82A}">
                    <a16:rowId xmlns:a16="http://schemas.microsoft.com/office/drawing/2014/main" val="1606758035"/>
                  </a:ext>
                </a:extLst>
              </a:tr>
              <a:tr h="301839">
                <a:tc>
                  <a:txBody>
                    <a:bodyPr/>
                    <a:lstStyle/>
                    <a:p>
                      <a:endParaRPr lang="en-US" sz="1000" dirty="0"/>
                    </a:p>
                  </a:txBody>
                  <a:tcPr/>
                </a:tc>
                <a:extLst>
                  <a:ext uri="{0D108BD9-81ED-4DB2-BD59-A6C34878D82A}">
                    <a16:rowId xmlns:a16="http://schemas.microsoft.com/office/drawing/2014/main" val="2586266825"/>
                  </a:ext>
                </a:extLst>
              </a:tr>
              <a:tr h="301839">
                <a:tc>
                  <a:txBody>
                    <a:bodyPr/>
                    <a:lstStyle/>
                    <a:p>
                      <a:endParaRPr lang="en-US" sz="1000" dirty="0"/>
                    </a:p>
                  </a:txBody>
                  <a:tcPr/>
                </a:tc>
                <a:extLst>
                  <a:ext uri="{0D108BD9-81ED-4DB2-BD59-A6C34878D82A}">
                    <a16:rowId xmlns:a16="http://schemas.microsoft.com/office/drawing/2014/main" val="1201080614"/>
                  </a:ext>
                </a:extLst>
              </a:tr>
              <a:tr h="301839">
                <a:tc>
                  <a:txBody>
                    <a:bodyPr/>
                    <a:lstStyle/>
                    <a:p>
                      <a:endParaRPr lang="en-US" sz="1000" dirty="0"/>
                    </a:p>
                  </a:txBody>
                  <a:tcPr/>
                </a:tc>
                <a:extLst>
                  <a:ext uri="{0D108BD9-81ED-4DB2-BD59-A6C34878D82A}">
                    <a16:rowId xmlns:a16="http://schemas.microsoft.com/office/drawing/2014/main" val="1536600740"/>
                  </a:ext>
                </a:extLst>
              </a:tr>
            </a:tbl>
          </a:graphicData>
        </a:graphic>
      </p:graphicFrame>
      <p:sp>
        <p:nvSpPr>
          <p:cNvPr id="36" name="Right Brace 35">
            <a:extLst>
              <a:ext uri="{FF2B5EF4-FFF2-40B4-BE49-F238E27FC236}">
                <a16:creationId xmlns:a16="http://schemas.microsoft.com/office/drawing/2014/main" id="{1A742C11-877D-C0A1-144A-BDAACC841198}"/>
              </a:ext>
            </a:extLst>
          </p:cNvPr>
          <p:cNvSpPr/>
          <p:nvPr/>
        </p:nvSpPr>
        <p:spPr>
          <a:xfrm>
            <a:off x="5156643" y="2262583"/>
            <a:ext cx="230847" cy="74022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Right Brace 36">
            <a:extLst>
              <a:ext uri="{FF2B5EF4-FFF2-40B4-BE49-F238E27FC236}">
                <a16:creationId xmlns:a16="http://schemas.microsoft.com/office/drawing/2014/main" id="{B6839EDD-2D36-E61A-CBF8-DE5DEEA83B12}"/>
              </a:ext>
            </a:extLst>
          </p:cNvPr>
          <p:cNvSpPr/>
          <p:nvPr/>
        </p:nvSpPr>
        <p:spPr>
          <a:xfrm>
            <a:off x="5156643" y="3209879"/>
            <a:ext cx="271028" cy="155582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ight Brace 38">
            <a:extLst>
              <a:ext uri="{FF2B5EF4-FFF2-40B4-BE49-F238E27FC236}">
                <a16:creationId xmlns:a16="http://schemas.microsoft.com/office/drawing/2014/main" id="{3ED2B23B-613F-3D17-5A15-35644014E028}"/>
              </a:ext>
            </a:extLst>
          </p:cNvPr>
          <p:cNvSpPr/>
          <p:nvPr/>
        </p:nvSpPr>
        <p:spPr>
          <a:xfrm>
            <a:off x="5156643" y="5035390"/>
            <a:ext cx="230847" cy="123884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TextBox 39">
            <a:extLst>
              <a:ext uri="{FF2B5EF4-FFF2-40B4-BE49-F238E27FC236}">
                <a16:creationId xmlns:a16="http://schemas.microsoft.com/office/drawing/2014/main" id="{83FC8858-547A-342D-80A3-99EA1EF5811E}"/>
              </a:ext>
            </a:extLst>
          </p:cNvPr>
          <p:cNvSpPr txBox="1"/>
          <p:nvPr/>
        </p:nvSpPr>
        <p:spPr>
          <a:xfrm>
            <a:off x="5432873" y="2163782"/>
            <a:ext cx="1857367" cy="9387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3*1, with the lagged entries from the data of the 3 sensors deployed in Esmeraldas. Lags determined by PACF.</a:t>
            </a:r>
          </a:p>
        </p:txBody>
      </p:sp>
      <p:sp>
        <p:nvSpPr>
          <p:cNvPr id="41" name="TextBox 40">
            <a:extLst>
              <a:ext uri="{FF2B5EF4-FFF2-40B4-BE49-F238E27FC236}">
                <a16:creationId xmlns:a16="http://schemas.microsoft.com/office/drawing/2014/main" id="{B1D3FBBC-8067-9BA2-7A4E-2F9D5A9F3966}"/>
              </a:ext>
            </a:extLst>
          </p:cNvPr>
          <p:cNvSpPr txBox="1"/>
          <p:nvPr/>
        </p:nvSpPr>
        <p:spPr>
          <a:xfrm>
            <a:off x="5441582" y="3259654"/>
            <a:ext cx="1857367"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1098*1, accounts for all the valid pixels make up of the Esmeraldas river basin. Different clusters of pixels are subject to different lags considering the arrival time of precipitation</a:t>
            </a:r>
          </a:p>
        </p:txBody>
      </p:sp>
      <p:sp>
        <p:nvSpPr>
          <p:cNvPr id="42" name="TextBox 41">
            <a:extLst>
              <a:ext uri="{FF2B5EF4-FFF2-40B4-BE49-F238E27FC236}">
                <a16:creationId xmlns:a16="http://schemas.microsoft.com/office/drawing/2014/main" id="{29F58235-69DB-5DC3-CB99-98A922EAFBD7}"/>
              </a:ext>
            </a:extLst>
          </p:cNvPr>
          <p:cNvSpPr txBox="1"/>
          <p:nvPr/>
        </p:nvSpPr>
        <p:spPr>
          <a:xfrm>
            <a:off x="5432873" y="5185454"/>
            <a:ext cx="1857367" cy="9387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2416*1, accounts for all the valid pixels make up of the Esmeraldas river basin. Different resolution with the CCS data.</a:t>
            </a:r>
          </a:p>
        </p:txBody>
      </p:sp>
      <p:cxnSp>
        <p:nvCxnSpPr>
          <p:cNvPr id="43" name="Straight Connector 42">
            <a:extLst>
              <a:ext uri="{FF2B5EF4-FFF2-40B4-BE49-F238E27FC236}">
                <a16:creationId xmlns:a16="http://schemas.microsoft.com/office/drawing/2014/main" id="{6E0E320D-2D6C-4E71-CDFA-C70046D3A1D3}"/>
              </a:ext>
            </a:extLst>
          </p:cNvPr>
          <p:cNvCxnSpPr>
            <a:cxnSpLocks/>
          </p:cNvCxnSpPr>
          <p:nvPr/>
        </p:nvCxnSpPr>
        <p:spPr>
          <a:xfrm>
            <a:off x="4519761" y="1518643"/>
            <a:ext cx="2650561"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4F27696-F0A0-286D-6434-8AC197E0FE96}"/>
              </a:ext>
            </a:extLst>
          </p:cNvPr>
          <p:cNvSpPr txBox="1"/>
          <p:nvPr/>
        </p:nvSpPr>
        <p:spPr>
          <a:xfrm>
            <a:off x="4452804" y="1526213"/>
            <a:ext cx="248355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3+1098+2416 = 3517 features</a:t>
            </a:r>
          </a:p>
        </p:txBody>
      </p:sp>
      <p:cxnSp>
        <p:nvCxnSpPr>
          <p:cNvPr id="45" name="Straight Connector 44">
            <a:extLst>
              <a:ext uri="{FF2B5EF4-FFF2-40B4-BE49-F238E27FC236}">
                <a16:creationId xmlns:a16="http://schemas.microsoft.com/office/drawing/2014/main" id="{CC83FCB0-D299-1122-6FBC-D88B678BDB20}"/>
              </a:ext>
            </a:extLst>
          </p:cNvPr>
          <p:cNvCxnSpPr>
            <a:cxnSpLocks/>
          </p:cNvCxnSpPr>
          <p:nvPr/>
        </p:nvCxnSpPr>
        <p:spPr>
          <a:xfrm>
            <a:off x="7446996" y="1518643"/>
            <a:ext cx="1822092"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4DA2D9A-7A27-3D22-FA99-B80373085844}"/>
              </a:ext>
            </a:extLst>
          </p:cNvPr>
          <p:cNvCxnSpPr>
            <a:cxnSpLocks/>
          </p:cNvCxnSpPr>
          <p:nvPr/>
        </p:nvCxnSpPr>
        <p:spPr>
          <a:xfrm>
            <a:off x="10698382" y="2123762"/>
            <a:ext cx="0" cy="4191265"/>
          </a:xfrm>
          <a:prstGeom prst="straightConnector1">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698305E7-5026-E2BE-9E9C-990568C6BCF7}"/>
              </a:ext>
            </a:extLst>
          </p:cNvPr>
          <p:cNvCxnSpPr>
            <a:cxnSpLocks/>
          </p:cNvCxnSpPr>
          <p:nvPr/>
        </p:nvCxnSpPr>
        <p:spPr>
          <a:xfrm>
            <a:off x="10357660" y="1518643"/>
            <a:ext cx="1541416"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D50A32F-E4C7-3366-4C53-903E667716F7}"/>
              </a:ext>
            </a:extLst>
          </p:cNvPr>
          <p:cNvSpPr txBox="1"/>
          <p:nvPr/>
        </p:nvSpPr>
        <p:spPr>
          <a:xfrm>
            <a:off x="10276838" y="1526213"/>
            <a:ext cx="1857367"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Frequency: every 3 hours</a:t>
            </a:r>
          </a:p>
        </p:txBody>
      </p:sp>
      <p:cxnSp>
        <p:nvCxnSpPr>
          <p:cNvPr id="49" name="Straight Connector 48">
            <a:extLst>
              <a:ext uri="{FF2B5EF4-FFF2-40B4-BE49-F238E27FC236}">
                <a16:creationId xmlns:a16="http://schemas.microsoft.com/office/drawing/2014/main" id="{D034EBEC-5B4B-4C48-E6AB-93AB03D7BD32}"/>
              </a:ext>
            </a:extLst>
          </p:cNvPr>
          <p:cNvCxnSpPr>
            <a:cxnSpLocks/>
          </p:cNvCxnSpPr>
          <p:nvPr/>
        </p:nvCxnSpPr>
        <p:spPr>
          <a:xfrm>
            <a:off x="10482342" y="2368603"/>
            <a:ext cx="432081"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57FF075-32CA-3FA1-A414-1554FCB6B838}"/>
              </a:ext>
            </a:extLst>
          </p:cNvPr>
          <p:cNvSpPr txBox="1"/>
          <p:nvPr/>
        </p:nvSpPr>
        <p:spPr>
          <a:xfrm>
            <a:off x="8611064" y="2231858"/>
            <a:ext cx="1857367"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dirty="0">
                <a:latin typeface="Arial" panose="020B0604020202020204" pitchFamily="34" charset="0"/>
                <a:cs typeface="Arial" panose="020B0604020202020204" pitchFamily="34" charset="0"/>
              </a:rPr>
              <a:t>t - 24</a:t>
            </a:r>
          </a:p>
        </p:txBody>
      </p:sp>
      <p:sp>
        <p:nvSpPr>
          <p:cNvPr id="51" name="TextBox 50">
            <a:extLst>
              <a:ext uri="{FF2B5EF4-FFF2-40B4-BE49-F238E27FC236}">
                <a16:creationId xmlns:a16="http://schemas.microsoft.com/office/drawing/2014/main" id="{85550E27-8C13-AC7A-95DF-72043B38B684}"/>
              </a:ext>
            </a:extLst>
          </p:cNvPr>
          <p:cNvSpPr txBox="1"/>
          <p:nvPr/>
        </p:nvSpPr>
        <p:spPr>
          <a:xfrm>
            <a:off x="10914424" y="2231857"/>
            <a:ext cx="133299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WRF data of time t ready</a:t>
            </a:r>
          </a:p>
        </p:txBody>
      </p:sp>
      <p:cxnSp>
        <p:nvCxnSpPr>
          <p:cNvPr id="52" name="Straight Connector 51">
            <a:extLst>
              <a:ext uri="{FF2B5EF4-FFF2-40B4-BE49-F238E27FC236}">
                <a16:creationId xmlns:a16="http://schemas.microsoft.com/office/drawing/2014/main" id="{1CE39FC6-C6DB-4D08-E7DC-0AB25D408876}"/>
              </a:ext>
            </a:extLst>
          </p:cNvPr>
          <p:cNvCxnSpPr>
            <a:cxnSpLocks/>
          </p:cNvCxnSpPr>
          <p:nvPr/>
        </p:nvCxnSpPr>
        <p:spPr>
          <a:xfrm>
            <a:off x="10482342" y="3728544"/>
            <a:ext cx="432081"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8654F94-181B-473D-6BCC-C9325493B2A9}"/>
              </a:ext>
            </a:extLst>
          </p:cNvPr>
          <p:cNvSpPr txBox="1"/>
          <p:nvPr/>
        </p:nvSpPr>
        <p:spPr>
          <a:xfrm>
            <a:off x="9643557" y="3591799"/>
            <a:ext cx="82487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dirty="0">
                <a:latin typeface="Arial" panose="020B0604020202020204" pitchFamily="34" charset="0"/>
                <a:cs typeface="Arial" panose="020B0604020202020204" pitchFamily="34" charset="0"/>
              </a:rPr>
              <a:t>t – 2.5</a:t>
            </a:r>
          </a:p>
        </p:txBody>
      </p:sp>
      <p:sp>
        <p:nvSpPr>
          <p:cNvPr id="54" name="TextBox 53">
            <a:extLst>
              <a:ext uri="{FF2B5EF4-FFF2-40B4-BE49-F238E27FC236}">
                <a16:creationId xmlns:a16="http://schemas.microsoft.com/office/drawing/2014/main" id="{E8283976-E5A7-4F5D-7070-F3910A49E2CC}"/>
              </a:ext>
            </a:extLst>
          </p:cNvPr>
          <p:cNvSpPr txBox="1"/>
          <p:nvPr/>
        </p:nvSpPr>
        <p:spPr>
          <a:xfrm>
            <a:off x="10914424" y="3591798"/>
            <a:ext cx="133299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Lagged sensor data required of time t ready</a:t>
            </a:r>
          </a:p>
        </p:txBody>
      </p:sp>
      <p:sp>
        <p:nvSpPr>
          <p:cNvPr id="55" name="TextBox 54">
            <a:extLst>
              <a:ext uri="{FF2B5EF4-FFF2-40B4-BE49-F238E27FC236}">
                <a16:creationId xmlns:a16="http://schemas.microsoft.com/office/drawing/2014/main" id="{B8CD005C-B632-556F-7299-C91A4FA1A627}"/>
              </a:ext>
            </a:extLst>
          </p:cNvPr>
          <p:cNvSpPr txBox="1"/>
          <p:nvPr/>
        </p:nvSpPr>
        <p:spPr>
          <a:xfrm>
            <a:off x="7394743" y="1526213"/>
            <a:ext cx="1857367"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latin typeface="Arial" panose="020B0604020202020204" pitchFamily="34" charset="0"/>
                <a:cs typeface="Arial" panose="020B0604020202020204" pitchFamily="34" charset="0"/>
              </a:rPr>
              <a:t>Random forest</a:t>
            </a:r>
            <a:endParaRPr lang="en-US" sz="1100" dirty="0">
              <a:latin typeface="Arial" panose="020B060402020202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3284F624-2740-166A-C400-E08FDEC38B83}"/>
              </a:ext>
            </a:extLst>
          </p:cNvPr>
          <p:cNvCxnSpPr>
            <a:cxnSpLocks/>
          </p:cNvCxnSpPr>
          <p:nvPr/>
        </p:nvCxnSpPr>
        <p:spPr>
          <a:xfrm>
            <a:off x="10482342" y="4529560"/>
            <a:ext cx="432081"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3F64A714-E23B-8BFB-E144-D4B8FDC49734}"/>
              </a:ext>
            </a:extLst>
          </p:cNvPr>
          <p:cNvSpPr txBox="1"/>
          <p:nvPr/>
        </p:nvSpPr>
        <p:spPr>
          <a:xfrm>
            <a:off x="9643557" y="4392815"/>
            <a:ext cx="82487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dirty="0">
                <a:latin typeface="Arial" panose="020B0604020202020204" pitchFamily="34" charset="0"/>
                <a:cs typeface="Arial" panose="020B0604020202020204" pitchFamily="34" charset="0"/>
              </a:rPr>
              <a:t>t – 1.5</a:t>
            </a:r>
          </a:p>
        </p:txBody>
      </p:sp>
      <p:sp>
        <p:nvSpPr>
          <p:cNvPr id="58" name="TextBox 57">
            <a:extLst>
              <a:ext uri="{FF2B5EF4-FFF2-40B4-BE49-F238E27FC236}">
                <a16:creationId xmlns:a16="http://schemas.microsoft.com/office/drawing/2014/main" id="{25EFCC59-F3A6-EDDB-C053-61B47C44B724}"/>
              </a:ext>
            </a:extLst>
          </p:cNvPr>
          <p:cNvSpPr txBox="1"/>
          <p:nvPr/>
        </p:nvSpPr>
        <p:spPr>
          <a:xfrm>
            <a:off x="10914424" y="4392814"/>
            <a:ext cx="133299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CCS data required of time t ready</a:t>
            </a:r>
          </a:p>
        </p:txBody>
      </p:sp>
      <p:cxnSp>
        <p:nvCxnSpPr>
          <p:cNvPr id="59" name="Straight Connector 58">
            <a:extLst>
              <a:ext uri="{FF2B5EF4-FFF2-40B4-BE49-F238E27FC236}">
                <a16:creationId xmlns:a16="http://schemas.microsoft.com/office/drawing/2014/main" id="{FDE60B65-F7D1-2021-B945-61F44F0D67D1}"/>
              </a:ext>
            </a:extLst>
          </p:cNvPr>
          <p:cNvCxnSpPr>
            <a:cxnSpLocks/>
          </p:cNvCxnSpPr>
          <p:nvPr/>
        </p:nvCxnSpPr>
        <p:spPr>
          <a:xfrm>
            <a:off x="10482342" y="5214633"/>
            <a:ext cx="432081" cy="0"/>
          </a:xfrm>
          <a:prstGeom prst="line">
            <a:avLst/>
          </a:prstGeom>
          <a:ln w="12700">
            <a:solidFill>
              <a:srgbClr val="32266B"/>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BD8EAFDF-1030-8A0B-4564-3C8DEB941141}"/>
              </a:ext>
            </a:extLst>
          </p:cNvPr>
          <p:cNvSpPr txBox="1"/>
          <p:nvPr/>
        </p:nvSpPr>
        <p:spPr>
          <a:xfrm>
            <a:off x="9643557" y="5077888"/>
            <a:ext cx="82487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dirty="0">
                <a:latin typeface="Arial" panose="020B0604020202020204" pitchFamily="34" charset="0"/>
                <a:cs typeface="Arial" panose="020B0604020202020204" pitchFamily="34" charset="0"/>
              </a:rPr>
              <a:t>t </a:t>
            </a:r>
          </a:p>
        </p:txBody>
      </p:sp>
      <p:sp>
        <p:nvSpPr>
          <p:cNvPr id="61" name="TextBox 60">
            <a:extLst>
              <a:ext uri="{FF2B5EF4-FFF2-40B4-BE49-F238E27FC236}">
                <a16:creationId xmlns:a16="http://schemas.microsoft.com/office/drawing/2014/main" id="{64C6BD52-3D6A-E763-58AE-E4F43E020A3F}"/>
              </a:ext>
            </a:extLst>
          </p:cNvPr>
          <p:cNvSpPr txBox="1"/>
          <p:nvPr/>
        </p:nvSpPr>
        <p:spPr>
          <a:xfrm>
            <a:off x="10914424" y="5077887"/>
            <a:ext cx="1332996" cy="12772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Fit the forecasted result and upload to the data portal of INAMHI. If triggered certain threshold, bulletin generated.</a:t>
            </a:r>
          </a:p>
        </p:txBody>
      </p:sp>
      <p:sp>
        <p:nvSpPr>
          <p:cNvPr id="7" name="Rectangle 6">
            <a:extLst>
              <a:ext uri="{FF2B5EF4-FFF2-40B4-BE49-F238E27FC236}">
                <a16:creationId xmlns:a16="http://schemas.microsoft.com/office/drawing/2014/main" id="{812C6B82-9C45-4086-0773-CB0695E1B266}"/>
              </a:ext>
            </a:extLst>
          </p:cNvPr>
          <p:cNvSpPr/>
          <p:nvPr/>
        </p:nvSpPr>
        <p:spPr>
          <a:xfrm>
            <a:off x="8864600" y="3340100"/>
            <a:ext cx="337173" cy="9271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Flowchart: Terminator 5">
            <a:extLst>
              <a:ext uri="{FF2B5EF4-FFF2-40B4-BE49-F238E27FC236}">
                <a16:creationId xmlns:a16="http://schemas.microsoft.com/office/drawing/2014/main" id="{79275EAE-EC9B-2A5B-E0A6-D4E96E48A14D}"/>
              </a:ext>
            </a:extLst>
          </p:cNvPr>
          <p:cNvSpPr/>
          <p:nvPr/>
        </p:nvSpPr>
        <p:spPr>
          <a:xfrm>
            <a:off x="8880476" y="3429000"/>
            <a:ext cx="1101721" cy="762962"/>
          </a:xfrm>
          <a:prstGeom prst="flowChartTerminator">
            <a:avLst/>
          </a:prstGeom>
          <a:solidFill>
            <a:schemeClr val="bg1"/>
          </a:solidFill>
          <a:ln w="19050">
            <a:solidFill>
              <a:srgbClr val="0A7DA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rPr>
              <a:t>Y: the water level at the San Mateo station</a:t>
            </a:r>
            <a:endParaRPr lang="zh-CN" altLang="en-US" sz="1050" dirty="0">
              <a:solidFill>
                <a:schemeClr val="tx1"/>
              </a:solidFill>
            </a:endParaRPr>
          </a:p>
        </p:txBody>
      </p:sp>
      <p:sp>
        <p:nvSpPr>
          <p:cNvPr id="9" name="TextBox 8">
            <a:extLst>
              <a:ext uri="{FF2B5EF4-FFF2-40B4-BE49-F238E27FC236}">
                <a16:creationId xmlns:a16="http://schemas.microsoft.com/office/drawing/2014/main" id="{D609EA5D-108F-0172-1D4F-07D9F7655C16}"/>
              </a:ext>
            </a:extLst>
          </p:cNvPr>
          <p:cNvSpPr txBox="1"/>
          <p:nvPr/>
        </p:nvSpPr>
        <p:spPr>
          <a:xfrm>
            <a:off x="5432873" y="1832865"/>
            <a:ext cx="213242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Arial" panose="020B0604020202020204" pitchFamily="34" charset="0"/>
                <a:cs typeface="Arial" panose="020B0604020202020204" pitchFamily="34" charset="0"/>
              </a:rPr>
              <a:t>The</a:t>
            </a:r>
            <a:r>
              <a:rPr lang="zh-CN" altLang="en-US" sz="1100" dirty="0">
                <a:latin typeface="Arial" panose="020B0604020202020204" pitchFamily="34" charset="0"/>
                <a:cs typeface="Arial" panose="020B0604020202020204" pitchFamily="34" charset="0"/>
              </a:rPr>
              <a:t> </a:t>
            </a:r>
            <a:r>
              <a:rPr lang="en-US" altLang="zh-CN" sz="1100" dirty="0">
                <a:latin typeface="Arial" panose="020B0604020202020204" pitchFamily="34" charset="0"/>
                <a:cs typeface="Arial" panose="020B0604020202020204" pitchFamily="34" charset="0"/>
              </a:rPr>
              <a:t>water level at San Mateo</a:t>
            </a:r>
            <a:endParaRPr lang="en-US" sz="1100" dirty="0">
              <a:latin typeface="Arial" panose="020B0604020202020204" pitchFamily="34" charset="0"/>
              <a:cs typeface="Arial" panose="020B0604020202020204" pitchFamily="34" charset="0"/>
            </a:endParaRPr>
          </a:p>
        </p:txBody>
      </p:sp>
      <p:cxnSp>
        <p:nvCxnSpPr>
          <p:cNvPr id="14" name="Straight Arrow Connector 13">
            <a:extLst>
              <a:ext uri="{FF2B5EF4-FFF2-40B4-BE49-F238E27FC236}">
                <a16:creationId xmlns:a16="http://schemas.microsoft.com/office/drawing/2014/main" id="{0A72B3F3-ACDC-C103-C7E5-7BA22CCF3B34}"/>
              </a:ext>
            </a:extLst>
          </p:cNvPr>
          <p:cNvCxnSpPr>
            <a:cxnSpLocks/>
          </p:cNvCxnSpPr>
          <p:nvPr/>
        </p:nvCxnSpPr>
        <p:spPr>
          <a:xfrm>
            <a:off x="5103727" y="1981200"/>
            <a:ext cx="2397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058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306022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a:xfrm>
            <a:off x="419099" y="248478"/>
            <a:ext cx="10843762" cy="810592"/>
          </a:xfrm>
        </p:spPr>
        <p:txBody>
          <a:bodyPr vert="horz">
            <a:noAutofit/>
          </a:bodyPr>
          <a:lstStyle/>
          <a:p>
            <a:r>
              <a:rPr lang="en-US" sz="2400" dirty="0"/>
              <a:t>To further enhance the accuracy of the model, we have to consider the different arrival time of the precipitation with different distance</a:t>
            </a:r>
          </a:p>
        </p:txBody>
      </p:sp>
      <p:sp>
        <p:nvSpPr>
          <p:cNvPr id="5141" name="TextBox 5140">
            <a:extLst>
              <a:ext uri="{FF2B5EF4-FFF2-40B4-BE49-F238E27FC236}">
                <a16:creationId xmlns:a16="http://schemas.microsoft.com/office/drawing/2014/main" id="{059F212E-E3E6-66F4-6B6C-755A34A2BB12}"/>
              </a:ext>
            </a:extLst>
          </p:cNvPr>
          <p:cNvSpPr txBox="1"/>
          <p:nvPr/>
        </p:nvSpPr>
        <p:spPr>
          <a:xfrm>
            <a:off x="419099" y="1208067"/>
            <a:ext cx="5568101" cy="338554"/>
          </a:xfrm>
          <a:prstGeom prst="rect">
            <a:avLst/>
          </a:prstGeom>
          <a:noFill/>
        </p:spPr>
        <p:txBody>
          <a:bodyPr wrap="square" rtlCol="0">
            <a:spAutoFit/>
          </a:bodyPr>
          <a:lstStyle>
            <a:defPPr>
              <a:defRPr lang="en-US"/>
            </a:defPPr>
            <a:lvl1pPr>
              <a:defRPr sz="1600" b="1">
                <a:ea typeface="Calibri" panose="020F0502020204030204" pitchFamily="34" charset="0"/>
                <a:cs typeface="Calibri" panose="020F0502020204030204" pitchFamily="34" charset="0"/>
              </a:defRPr>
            </a:lvl1pPr>
          </a:lstStyle>
          <a:p>
            <a:r>
              <a:rPr lang="en-US" altLang="zh-CN" dirty="0"/>
              <a:t>Hydrological distance division according </a:t>
            </a:r>
            <a:r>
              <a:rPr lang="en-US" altLang="zh-CN"/>
              <a:t>to INAMHI</a:t>
            </a:r>
            <a:endParaRPr lang="en-US" altLang="zh-CN" dirty="0"/>
          </a:p>
        </p:txBody>
      </p:sp>
      <p:cxnSp>
        <p:nvCxnSpPr>
          <p:cNvPr id="5142" name="Straight Connector 5141">
            <a:extLst>
              <a:ext uri="{FF2B5EF4-FFF2-40B4-BE49-F238E27FC236}">
                <a16:creationId xmlns:a16="http://schemas.microsoft.com/office/drawing/2014/main" id="{02C79E9C-BED6-5F9A-3AE7-1766E4619D4F}"/>
              </a:ext>
            </a:extLst>
          </p:cNvPr>
          <p:cNvCxnSpPr>
            <a:cxnSpLocks/>
          </p:cNvCxnSpPr>
          <p:nvPr/>
        </p:nvCxnSpPr>
        <p:spPr>
          <a:xfrm>
            <a:off x="527901" y="1602555"/>
            <a:ext cx="533557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143" name="TextBox 5142">
            <a:extLst>
              <a:ext uri="{FF2B5EF4-FFF2-40B4-BE49-F238E27FC236}">
                <a16:creationId xmlns:a16="http://schemas.microsoft.com/office/drawing/2014/main" id="{106955D2-6369-19AF-EB6E-36EF2E41DF21}"/>
              </a:ext>
            </a:extLst>
          </p:cNvPr>
          <p:cNvSpPr txBox="1"/>
          <p:nvPr/>
        </p:nvSpPr>
        <p:spPr>
          <a:xfrm>
            <a:off x="6096000" y="1208067"/>
            <a:ext cx="5444372" cy="338554"/>
          </a:xfrm>
          <a:prstGeom prst="rect">
            <a:avLst/>
          </a:prstGeom>
          <a:noFill/>
        </p:spPr>
        <p:txBody>
          <a:bodyPr wrap="square" rtlCol="0">
            <a:spAutoFit/>
          </a:bodyPr>
          <a:lstStyle>
            <a:defPPr>
              <a:defRPr lang="en-US"/>
            </a:defPPr>
            <a:lvl1pPr>
              <a:defRPr sz="1600" b="1">
                <a:ea typeface="Calibri" panose="020F0502020204030204" pitchFamily="34" charset="0"/>
                <a:cs typeface="Calibri" panose="020F0502020204030204" pitchFamily="34" charset="0"/>
              </a:defRPr>
            </a:lvl1pPr>
          </a:lstStyle>
          <a:p>
            <a:r>
              <a:rPr lang="en-US" altLang="zh-CN" dirty="0"/>
              <a:t>Applying distance clustering to </a:t>
            </a:r>
            <a:r>
              <a:rPr lang="en-US" altLang="zh-CN"/>
              <a:t>the pixels</a:t>
            </a:r>
            <a:endParaRPr lang="en-US" altLang="zh-CN" dirty="0"/>
          </a:p>
        </p:txBody>
      </p:sp>
      <p:cxnSp>
        <p:nvCxnSpPr>
          <p:cNvPr id="5144" name="Straight Connector 5143">
            <a:extLst>
              <a:ext uri="{FF2B5EF4-FFF2-40B4-BE49-F238E27FC236}">
                <a16:creationId xmlns:a16="http://schemas.microsoft.com/office/drawing/2014/main" id="{7E9B1341-014D-7EF4-C967-C81529918A62}"/>
              </a:ext>
            </a:extLst>
          </p:cNvPr>
          <p:cNvCxnSpPr>
            <a:cxnSpLocks/>
          </p:cNvCxnSpPr>
          <p:nvPr/>
        </p:nvCxnSpPr>
        <p:spPr>
          <a:xfrm>
            <a:off x="6204801" y="1602555"/>
            <a:ext cx="5335571"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5" name="Picture 14" descr="A map of a region&#10;&#10;Description automatically generated">
            <a:extLst>
              <a:ext uri="{FF2B5EF4-FFF2-40B4-BE49-F238E27FC236}">
                <a16:creationId xmlns:a16="http://schemas.microsoft.com/office/drawing/2014/main" id="{6EA5F0D9-F6BD-84AF-D0F9-E3E72ED956FD}"/>
              </a:ext>
            </a:extLst>
          </p:cNvPr>
          <p:cNvPicPr>
            <a:picLocks noChangeAspect="1"/>
          </p:cNvPicPr>
          <p:nvPr/>
        </p:nvPicPr>
        <p:blipFill>
          <a:blip r:embed="rId6"/>
          <a:stretch>
            <a:fillRect/>
          </a:stretch>
        </p:blipFill>
        <p:spPr>
          <a:xfrm>
            <a:off x="527900" y="1715808"/>
            <a:ext cx="5303035" cy="4526981"/>
          </a:xfrm>
          <a:prstGeom prst="rect">
            <a:avLst/>
          </a:prstGeom>
        </p:spPr>
      </p:pic>
      <p:sp>
        <p:nvSpPr>
          <p:cNvPr id="42" name="Text Placeholder 41">
            <a:extLst>
              <a:ext uri="{FF2B5EF4-FFF2-40B4-BE49-F238E27FC236}">
                <a16:creationId xmlns:a16="http://schemas.microsoft.com/office/drawing/2014/main" id="{5C3F5DEA-A10C-8E86-48A8-B871499E9465}"/>
              </a:ext>
            </a:extLst>
          </p:cNvPr>
          <p:cNvSpPr>
            <a:spLocks noGrp="1"/>
          </p:cNvSpPr>
          <p:nvPr>
            <p:ph type="body" sz="quarter" idx="10"/>
          </p:nvPr>
        </p:nvSpPr>
        <p:spPr/>
        <p:txBody>
          <a:bodyPr/>
          <a:lstStyle/>
          <a:p>
            <a:endParaRPr lang="en-US" altLang="zh-CN" dirty="0"/>
          </a:p>
        </p:txBody>
      </p:sp>
      <p:pic>
        <p:nvPicPr>
          <p:cNvPr id="48" name="Picture 47" descr="A map of the river basin divided by distance levels&#10;&#10;Description automatically generated">
            <a:extLst>
              <a:ext uri="{FF2B5EF4-FFF2-40B4-BE49-F238E27FC236}">
                <a16:creationId xmlns:a16="http://schemas.microsoft.com/office/drawing/2014/main" id="{155E8B44-B0CA-B472-9AD3-30D89481071F}"/>
              </a:ext>
            </a:extLst>
          </p:cNvPr>
          <p:cNvPicPr>
            <a:picLocks noChangeAspect="1"/>
          </p:cNvPicPr>
          <p:nvPr/>
        </p:nvPicPr>
        <p:blipFill>
          <a:blip r:embed="rId7"/>
          <a:stretch>
            <a:fillRect/>
          </a:stretch>
        </p:blipFill>
        <p:spPr>
          <a:xfrm>
            <a:off x="6134338" y="1677709"/>
            <a:ext cx="3890765" cy="3413833"/>
          </a:xfrm>
          <a:prstGeom prst="rect">
            <a:avLst/>
          </a:prstGeom>
        </p:spPr>
      </p:pic>
      <p:grpSp>
        <p:nvGrpSpPr>
          <p:cNvPr id="56" name="Group 55">
            <a:extLst>
              <a:ext uri="{FF2B5EF4-FFF2-40B4-BE49-F238E27FC236}">
                <a16:creationId xmlns:a16="http://schemas.microsoft.com/office/drawing/2014/main" id="{B8D9F320-4058-1E1D-C09E-C0E0C2020219}"/>
              </a:ext>
            </a:extLst>
          </p:cNvPr>
          <p:cNvGrpSpPr/>
          <p:nvPr/>
        </p:nvGrpSpPr>
        <p:grpSpPr>
          <a:xfrm>
            <a:off x="1606946" y="1820478"/>
            <a:ext cx="4256526" cy="365760"/>
            <a:chOff x="1606946" y="1820478"/>
            <a:chExt cx="4256526" cy="365760"/>
          </a:xfrm>
        </p:grpSpPr>
        <p:sp>
          <p:nvSpPr>
            <p:cNvPr id="49" name="Oval 48">
              <a:extLst>
                <a:ext uri="{FF2B5EF4-FFF2-40B4-BE49-F238E27FC236}">
                  <a16:creationId xmlns:a16="http://schemas.microsoft.com/office/drawing/2014/main" id="{763E8EDC-61E2-32CF-097C-C65E79CC6158}"/>
                </a:ext>
              </a:extLst>
            </p:cNvPr>
            <p:cNvSpPr/>
            <p:nvPr/>
          </p:nvSpPr>
          <p:spPr>
            <a:xfrm>
              <a:off x="1606946" y="1820478"/>
              <a:ext cx="365760" cy="36576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C" altLang="zh-CN" dirty="0"/>
            </a:p>
          </p:txBody>
        </p:sp>
        <p:sp>
          <p:nvSpPr>
            <p:cNvPr id="55" name="TextBox 54">
              <a:extLst>
                <a:ext uri="{FF2B5EF4-FFF2-40B4-BE49-F238E27FC236}">
                  <a16:creationId xmlns:a16="http://schemas.microsoft.com/office/drawing/2014/main" id="{FFEFC331-37C8-4FC1-88C9-E1A3BB295D18}"/>
                </a:ext>
              </a:extLst>
            </p:cNvPr>
            <p:cNvSpPr txBox="1"/>
            <p:nvPr/>
          </p:nvSpPr>
          <p:spPr>
            <a:xfrm>
              <a:off x="1972706" y="1820478"/>
              <a:ext cx="3890766" cy="307777"/>
            </a:xfrm>
            <a:prstGeom prst="rect">
              <a:avLst/>
            </a:prstGeom>
            <a:noFill/>
          </p:spPr>
          <p:txBody>
            <a:bodyPr wrap="square" rtlCol="0">
              <a:spAutoFit/>
            </a:bodyPr>
            <a:lstStyle/>
            <a:p>
              <a:r>
                <a:rPr lang="es-EC" altLang="zh-CN" sz="1400" b="1" dirty="0">
                  <a:solidFill>
                    <a:srgbClr val="FF0000"/>
                  </a:solidFill>
                </a:rPr>
                <a:t>Esmeraldas sensor </a:t>
              </a:r>
              <a:r>
                <a:rPr lang="es-EC" altLang="zh-CN" sz="1400" b="1" dirty="0" err="1">
                  <a:solidFill>
                    <a:srgbClr val="FF0000"/>
                  </a:solidFill>
                </a:rPr>
                <a:t>station</a:t>
              </a:r>
              <a:endParaRPr lang="es-EC" altLang="zh-CN" sz="1400" b="1" dirty="0">
                <a:solidFill>
                  <a:srgbClr val="FF0000"/>
                </a:solidFill>
              </a:endParaRPr>
            </a:p>
          </p:txBody>
        </p:sp>
      </p:grpSp>
      <p:grpSp>
        <p:nvGrpSpPr>
          <p:cNvPr id="57" name="Group 56">
            <a:extLst>
              <a:ext uri="{FF2B5EF4-FFF2-40B4-BE49-F238E27FC236}">
                <a16:creationId xmlns:a16="http://schemas.microsoft.com/office/drawing/2014/main" id="{D6CCDBB1-71E0-A845-5592-EDECE467F9C7}"/>
              </a:ext>
            </a:extLst>
          </p:cNvPr>
          <p:cNvGrpSpPr/>
          <p:nvPr/>
        </p:nvGrpSpPr>
        <p:grpSpPr>
          <a:xfrm>
            <a:off x="6627880" y="1804585"/>
            <a:ext cx="4256526" cy="365760"/>
            <a:chOff x="1606946" y="1820478"/>
            <a:chExt cx="4256526" cy="365760"/>
          </a:xfrm>
        </p:grpSpPr>
        <p:sp>
          <p:nvSpPr>
            <p:cNvPr id="58" name="Oval 57">
              <a:extLst>
                <a:ext uri="{FF2B5EF4-FFF2-40B4-BE49-F238E27FC236}">
                  <a16:creationId xmlns:a16="http://schemas.microsoft.com/office/drawing/2014/main" id="{95DC539A-4E9C-BC9D-4400-B6BDDF1A66D4}"/>
                </a:ext>
              </a:extLst>
            </p:cNvPr>
            <p:cNvSpPr/>
            <p:nvPr/>
          </p:nvSpPr>
          <p:spPr>
            <a:xfrm>
              <a:off x="1606946" y="1820478"/>
              <a:ext cx="365760" cy="36576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C" altLang="zh-CN" dirty="0"/>
            </a:p>
          </p:txBody>
        </p:sp>
        <p:sp>
          <p:nvSpPr>
            <p:cNvPr id="59" name="TextBox 58">
              <a:extLst>
                <a:ext uri="{FF2B5EF4-FFF2-40B4-BE49-F238E27FC236}">
                  <a16:creationId xmlns:a16="http://schemas.microsoft.com/office/drawing/2014/main" id="{D097CA88-7759-FBAB-EE7B-266566BE0F22}"/>
                </a:ext>
              </a:extLst>
            </p:cNvPr>
            <p:cNvSpPr txBox="1"/>
            <p:nvPr/>
          </p:nvSpPr>
          <p:spPr>
            <a:xfrm>
              <a:off x="1972706" y="1820478"/>
              <a:ext cx="3890766" cy="307777"/>
            </a:xfrm>
            <a:prstGeom prst="rect">
              <a:avLst/>
            </a:prstGeom>
            <a:noFill/>
          </p:spPr>
          <p:txBody>
            <a:bodyPr wrap="square" rtlCol="0">
              <a:spAutoFit/>
            </a:bodyPr>
            <a:lstStyle/>
            <a:p>
              <a:r>
                <a:rPr lang="es-EC" altLang="zh-CN" sz="1400" b="1" dirty="0">
                  <a:solidFill>
                    <a:srgbClr val="FF0000"/>
                  </a:solidFill>
                </a:rPr>
                <a:t>Esmeraldas sensor </a:t>
              </a:r>
              <a:r>
                <a:rPr lang="es-EC" altLang="zh-CN" sz="1400" b="1" dirty="0" err="1">
                  <a:solidFill>
                    <a:srgbClr val="FF0000"/>
                  </a:solidFill>
                </a:rPr>
                <a:t>station</a:t>
              </a:r>
              <a:endParaRPr lang="es-EC" altLang="zh-CN" sz="1400" b="1" dirty="0">
                <a:solidFill>
                  <a:srgbClr val="FF0000"/>
                </a:solidFill>
              </a:endParaRPr>
            </a:p>
          </p:txBody>
        </p:sp>
      </p:grpSp>
      <p:graphicFrame>
        <p:nvGraphicFramePr>
          <p:cNvPr id="60" name="Table 60">
            <a:extLst>
              <a:ext uri="{FF2B5EF4-FFF2-40B4-BE49-F238E27FC236}">
                <a16:creationId xmlns:a16="http://schemas.microsoft.com/office/drawing/2014/main" id="{08DAA5DF-6CAB-4F11-64C8-7E2DE3192239}"/>
              </a:ext>
            </a:extLst>
          </p:cNvPr>
          <p:cNvGraphicFramePr>
            <a:graphicFrameLocks noGrp="1"/>
          </p:cNvGraphicFramePr>
          <p:nvPr>
            <p:extLst>
              <p:ext uri="{D42A27DB-BD31-4B8C-83A1-F6EECF244321}">
                <p14:modId xmlns:p14="http://schemas.microsoft.com/office/powerpoint/2010/main" val="1676370595"/>
              </p:ext>
            </p:extLst>
          </p:nvPr>
        </p:nvGraphicFramePr>
        <p:xfrm>
          <a:off x="6121400" y="5684563"/>
          <a:ext cx="5689600" cy="370840"/>
        </p:xfrm>
        <a:graphic>
          <a:graphicData uri="http://schemas.openxmlformats.org/drawingml/2006/table">
            <a:tbl>
              <a:tblPr bandRow="1">
                <a:tableStyleId>{5C22544A-7EE6-4342-B048-85BDC9FD1C3A}</a:tableStyleId>
              </a:tblPr>
              <a:tblGrid>
                <a:gridCol w="568960">
                  <a:extLst>
                    <a:ext uri="{9D8B030D-6E8A-4147-A177-3AD203B41FA5}">
                      <a16:colId xmlns:a16="http://schemas.microsoft.com/office/drawing/2014/main" val="1629820867"/>
                    </a:ext>
                  </a:extLst>
                </a:gridCol>
                <a:gridCol w="568960">
                  <a:extLst>
                    <a:ext uri="{9D8B030D-6E8A-4147-A177-3AD203B41FA5}">
                      <a16:colId xmlns:a16="http://schemas.microsoft.com/office/drawing/2014/main" val="1253384567"/>
                    </a:ext>
                  </a:extLst>
                </a:gridCol>
                <a:gridCol w="568960">
                  <a:extLst>
                    <a:ext uri="{9D8B030D-6E8A-4147-A177-3AD203B41FA5}">
                      <a16:colId xmlns:a16="http://schemas.microsoft.com/office/drawing/2014/main" val="2472264887"/>
                    </a:ext>
                  </a:extLst>
                </a:gridCol>
                <a:gridCol w="568960">
                  <a:extLst>
                    <a:ext uri="{9D8B030D-6E8A-4147-A177-3AD203B41FA5}">
                      <a16:colId xmlns:a16="http://schemas.microsoft.com/office/drawing/2014/main" val="1629088900"/>
                    </a:ext>
                  </a:extLst>
                </a:gridCol>
                <a:gridCol w="568960">
                  <a:extLst>
                    <a:ext uri="{9D8B030D-6E8A-4147-A177-3AD203B41FA5}">
                      <a16:colId xmlns:a16="http://schemas.microsoft.com/office/drawing/2014/main" val="2952689956"/>
                    </a:ext>
                  </a:extLst>
                </a:gridCol>
                <a:gridCol w="568960">
                  <a:extLst>
                    <a:ext uri="{9D8B030D-6E8A-4147-A177-3AD203B41FA5}">
                      <a16:colId xmlns:a16="http://schemas.microsoft.com/office/drawing/2014/main" val="1281936648"/>
                    </a:ext>
                  </a:extLst>
                </a:gridCol>
                <a:gridCol w="568960">
                  <a:extLst>
                    <a:ext uri="{9D8B030D-6E8A-4147-A177-3AD203B41FA5}">
                      <a16:colId xmlns:a16="http://schemas.microsoft.com/office/drawing/2014/main" val="4275874439"/>
                    </a:ext>
                  </a:extLst>
                </a:gridCol>
                <a:gridCol w="568960">
                  <a:extLst>
                    <a:ext uri="{9D8B030D-6E8A-4147-A177-3AD203B41FA5}">
                      <a16:colId xmlns:a16="http://schemas.microsoft.com/office/drawing/2014/main" val="1194376947"/>
                    </a:ext>
                  </a:extLst>
                </a:gridCol>
                <a:gridCol w="568960">
                  <a:extLst>
                    <a:ext uri="{9D8B030D-6E8A-4147-A177-3AD203B41FA5}">
                      <a16:colId xmlns:a16="http://schemas.microsoft.com/office/drawing/2014/main" val="1636090467"/>
                    </a:ext>
                  </a:extLst>
                </a:gridCol>
                <a:gridCol w="568960">
                  <a:extLst>
                    <a:ext uri="{9D8B030D-6E8A-4147-A177-3AD203B41FA5}">
                      <a16:colId xmlns:a16="http://schemas.microsoft.com/office/drawing/2014/main" val="2465054233"/>
                    </a:ext>
                  </a:extLst>
                </a:gridCol>
              </a:tblGrid>
              <a:tr h="370840">
                <a:tc>
                  <a:txBody>
                    <a:bodyPr/>
                    <a:lstStyle/>
                    <a:p>
                      <a:pPr algn="ctr" rtl="0"/>
                      <a:r>
                        <a:rPr lang="en-US" altLang="zh-CN" sz="1000"/>
                        <a:t>Pixel 1</a:t>
                      </a:r>
                      <a:endParaRPr lang="en-US" altLang="zh-CN"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t>Pixel 2</a:t>
                      </a:r>
                      <a:endParaRPr lang="en-US" altLang="zh-CN" sz="1000" dirty="0"/>
                    </a:p>
                  </a:txBody>
                  <a:tcPr anchor="ctr"/>
                </a:tc>
                <a:tc>
                  <a:txBody>
                    <a:bodyPr/>
                    <a:lstStyle/>
                    <a:p>
                      <a:pPr algn="ctr" rtl="0"/>
                      <a:r>
                        <a:rPr lang="en-US" altLang="zh-CN" sz="1000"/>
                        <a:t>…</a:t>
                      </a:r>
                      <a:endParaRPr lang="en-US" altLang="zh-CN" sz="10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000" dirty="0"/>
                    </a:p>
                  </a:txBody>
                  <a:tcPr anchor="ctr"/>
                </a:tc>
                <a:tc>
                  <a:txBody>
                    <a:bodyPr/>
                    <a:lstStyle/>
                    <a:p>
                      <a:pPr algn="ctr" rtl="0"/>
                      <a:endParaRPr lang="en-US" altLang="zh-CN" sz="1000" dirty="0"/>
                    </a:p>
                  </a:txBody>
                  <a:tcPr anchor="ctr"/>
                </a:tc>
                <a:tc>
                  <a:txBody>
                    <a:bodyPr/>
                    <a:lstStyle/>
                    <a:p>
                      <a:pPr algn="ctr" rtl="0"/>
                      <a:endParaRPr lang="en-US" altLang="zh-CN" sz="1000" dirty="0"/>
                    </a:p>
                  </a:txBody>
                  <a:tcPr anchor="ctr"/>
                </a:tc>
                <a:tc>
                  <a:txBody>
                    <a:bodyPr/>
                    <a:lstStyle/>
                    <a:p>
                      <a:pPr algn="ctr" rtl="0"/>
                      <a:endParaRPr lang="en-US" altLang="zh-CN" sz="1000" dirty="0"/>
                    </a:p>
                  </a:txBody>
                  <a:tcPr anchor="ctr"/>
                </a:tc>
                <a:tc>
                  <a:txBody>
                    <a:bodyPr/>
                    <a:lstStyle/>
                    <a:p>
                      <a:pPr algn="ctr" rtl="0"/>
                      <a:endParaRPr lang="en-US" altLang="zh-CN" sz="1000" dirty="0"/>
                    </a:p>
                  </a:txBody>
                  <a:tcPr anchor="ctr"/>
                </a:tc>
                <a:tc>
                  <a:txBody>
                    <a:bodyPr/>
                    <a:lstStyle/>
                    <a:p>
                      <a:pPr algn="ctr" rtl="0"/>
                      <a:endParaRPr lang="en-US" altLang="zh-CN" sz="1000" dirty="0"/>
                    </a:p>
                  </a:txBody>
                  <a:tcPr anchor="ctr"/>
                </a:tc>
                <a:tc>
                  <a:txBody>
                    <a:bodyPr/>
                    <a:lstStyle/>
                    <a:p>
                      <a:pPr algn="ctr" rtl="0"/>
                      <a:endParaRPr lang="en-US" altLang="zh-CN" sz="1000" dirty="0"/>
                    </a:p>
                  </a:txBody>
                  <a:tcPr anchor="ctr"/>
                </a:tc>
                <a:extLst>
                  <a:ext uri="{0D108BD9-81ED-4DB2-BD59-A6C34878D82A}">
                    <a16:rowId xmlns:a16="http://schemas.microsoft.com/office/drawing/2014/main" val="2769243669"/>
                  </a:ext>
                </a:extLst>
              </a:tr>
            </a:tbl>
          </a:graphicData>
        </a:graphic>
      </p:graphicFrame>
      <p:sp>
        <p:nvSpPr>
          <p:cNvPr id="61" name="Right Brace 60">
            <a:extLst>
              <a:ext uri="{FF2B5EF4-FFF2-40B4-BE49-F238E27FC236}">
                <a16:creationId xmlns:a16="http://schemas.microsoft.com/office/drawing/2014/main" id="{59ED8386-72E7-2B8F-C90F-F6CFB718245E}"/>
              </a:ext>
            </a:extLst>
          </p:cNvPr>
          <p:cNvSpPr/>
          <p:nvPr/>
        </p:nvSpPr>
        <p:spPr>
          <a:xfrm rot="5400000" flipH="1" flipV="1">
            <a:off x="6727201" y="4933988"/>
            <a:ext cx="276998" cy="11988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zh-CN" dirty="0"/>
          </a:p>
        </p:txBody>
      </p:sp>
      <p:sp>
        <p:nvSpPr>
          <p:cNvPr id="62" name="Right Brace 61">
            <a:extLst>
              <a:ext uri="{FF2B5EF4-FFF2-40B4-BE49-F238E27FC236}">
                <a16:creationId xmlns:a16="http://schemas.microsoft.com/office/drawing/2014/main" id="{B0991D2A-5534-ABEA-3B63-B1162C47DE85}"/>
              </a:ext>
            </a:extLst>
          </p:cNvPr>
          <p:cNvSpPr/>
          <p:nvPr/>
        </p:nvSpPr>
        <p:spPr>
          <a:xfrm rot="5400000" flipH="1" flipV="1">
            <a:off x="8539170" y="4933988"/>
            <a:ext cx="277000" cy="11988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zh-CN" dirty="0"/>
          </a:p>
        </p:txBody>
      </p:sp>
      <p:sp>
        <p:nvSpPr>
          <p:cNvPr id="63" name="Right Brace 62">
            <a:extLst>
              <a:ext uri="{FF2B5EF4-FFF2-40B4-BE49-F238E27FC236}">
                <a16:creationId xmlns:a16="http://schemas.microsoft.com/office/drawing/2014/main" id="{42E0AA54-ACAE-F374-0B9F-E96E17515606}"/>
              </a:ext>
            </a:extLst>
          </p:cNvPr>
          <p:cNvSpPr/>
          <p:nvPr/>
        </p:nvSpPr>
        <p:spPr>
          <a:xfrm rot="5400000" flipH="1" flipV="1">
            <a:off x="10828654" y="4933988"/>
            <a:ext cx="277000" cy="11988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zh-CN" dirty="0"/>
          </a:p>
        </p:txBody>
      </p:sp>
      <p:sp>
        <p:nvSpPr>
          <p:cNvPr id="5120" name="TextBox 5119">
            <a:extLst>
              <a:ext uri="{FF2B5EF4-FFF2-40B4-BE49-F238E27FC236}">
                <a16:creationId xmlns:a16="http://schemas.microsoft.com/office/drawing/2014/main" id="{00C1F20D-0CB6-8F9A-8799-C2E8B4F72972}"/>
              </a:ext>
            </a:extLst>
          </p:cNvPr>
          <p:cNvSpPr txBox="1"/>
          <p:nvPr/>
        </p:nvSpPr>
        <p:spPr>
          <a:xfrm>
            <a:off x="9195045" y="5301052"/>
            <a:ext cx="976372" cy="378376"/>
          </a:xfrm>
          <a:prstGeom prst="rect">
            <a:avLst/>
          </a:prstGeom>
          <a:noFill/>
        </p:spPr>
        <p:txBody>
          <a:bodyPr wrap="square" rtlCol="0">
            <a:spAutoFit/>
          </a:bodyPr>
          <a:lstStyle/>
          <a:p>
            <a:pPr algn="ctr"/>
            <a:r>
              <a:rPr lang="en-US" altLang="zh-CN" b="1"/>
              <a:t>……</a:t>
            </a:r>
            <a:endParaRPr lang="en-US" altLang="zh-CN" b="1" dirty="0"/>
          </a:p>
        </p:txBody>
      </p:sp>
      <p:sp>
        <p:nvSpPr>
          <p:cNvPr id="5121" name="TextBox 5120">
            <a:extLst>
              <a:ext uri="{FF2B5EF4-FFF2-40B4-BE49-F238E27FC236}">
                <a16:creationId xmlns:a16="http://schemas.microsoft.com/office/drawing/2014/main" id="{F0F4AA54-8A92-083B-6354-501C9544A6C9}"/>
              </a:ext>
            </a:extLst>
          </p:cNvPr>
          <p:cNvSpPr txBox="1"/>
          <p:nvPr/>
        </p:nvSpPr>
        <p:spPr>
          <a:xfrm>
            <a:off x="6249005" y="5116945"/>
            <a:ext cx="1243782" cy="276999"/>
          </a:xfrm>
          <a:prstGeom prst="rect">
            <a:avLst/>
          </a:prstGeom>
          <a:noFill/>
        </p:spPr>
        <p:txBody>
          <a:bodyPr wrap="square" rtlCol="0">
            <a:spAutoFit/>
          </a:bodyPr>
          <a:lstStyle/>
          <a:p>
            <a:pPr algn="ctr"/>
            <a:r>
              <a:rPr lang="en-US" altLang="zh-CN" sz="1200" dirty="0"/>
              <a:t>Lag 1</a:t>
            </a:r>
            <a:r>
              <a:rPr lang="en-US" altLang="zh-CN" sz="1200"/>
              <a:t>: t-3</a:t>
            </a:r>
            <a:endParaRPr lang="en-US" altLang="zh-CN" sz="1200" dirty="0"/>
          </a:p>
        </p:txBody>
      </p:sp>
      <p:sp>
        <p:nvSpPr>
          <p:cNvPr id="5124" name="TextBox 5123">
            <a:extLst>
              <a:ext uri="{FF2B5EF4-FFF2-40B4-BE49-F238E27FC236}">
                <a16:creationId xmlns:a16="http://schemas.microsoft.com/office/drawing/2014/main" id="{A961906A-B644-3468-4E74-5226D058CCB4}"/>
              </a:ext>
            </a:extLst>
          </p:cNvPr>
          <p:cNvSpPr txBox="1"/>
          <p:nvPr/>
        </p:nvSpPr>
        <p:spPr>
          <a:xfrm>
            <a:off x="8052863" y="5116945"/>
            <a:ext cx="1243782" cy="276999"/>
          </a:xfrm>
          <a:prstGeom prst="rect">
            <a:avLst/>
          </a:prstGeom>
          <a:noFill/>
        </p:spPr>
        <p:txBody>
          <a:bodyPr wrap="square" rtlCol="0">
            <a:spAutoFit/>
          </a:bodyPr>
          <a:lstStyle/>
          <a:p>
            <a:pPr algn="ctr"/>
            <a:r>
              <a:rPr lang="en-US" altLang="zh-CN" sz="1200" dirty="0"/>
              <a:t>Lag 2</a:t>
            </a:r>
            <a:r>
              <a:rPr lang="en-US" altLang="zh-CN" sz="1200"/>
              <a:t>: t-6</a:t>
            </a:r>
            <a:endParaRPr lang="en-US" altLang="zh-CN" sz="1200" dirty="0"/>
          </a:p>
        </p:txBody>
      </p:sp>
      <p:sp>
        <p:nvSpPr>
          <p:cNvPr id="5125" name="TextBox 5124">
            <a:extLst>
              <a:ext uri="{FF2B5EF4-FFF2-40B4-BE49-F238E27FC236}">
                <a16:creationId xmlns:a16="http://schemas.microsoft.com/office/drawing/2014/main" id="{F37C148D-61D8-D0BA-CC06-EBF1DD5D61E8}"/>
              </a:ext>
            </a:extLst>
          </p:cNvPr>
          <p:cNvSpPr txBox="1"/>
          <p:nvPr/>
        </p:nvSpPr>
        <p:spPr>
          <a:xfrm>
            <a:off x="10345262" y="5116945"/>
            <a:ext cx="1243782" cy="276999"/>
          </a:xfrm>
          <a:prstGeom prst="rect">
            <a:avLst/>
          </a:prstGeom>
          <a:noFill/>
        </p:spPr>
        <p:txBody>
          <a:bodyPr wrap="square" rtlCol="0">
            <a:spAutoFit/>
          </a:bodyPr>
          <a:lstStyle/>
          <a:p>
            <a:pPr algn="ctr"/>
            <a:r>
              <a:rPr lang="en-US" altLang="zh-CN" sz="1200" dirty="0"/>
              <a:t>Lag 10</a:t>
            </a:r>
            <a:r>
              <a:rPr lang="en-US" altLang="zh-CN" sz="1200"/>
              <a:t>: t-30</a:t>
            </a:r>
            <a:endParaRPr lang="en-US" altLang="zh-CN" sz="1200" dirty="0"/>
          </a:p>
        </p:txBody>
      </p:sp>
      <p:sp>
        <p:nvSpPr>
          <p:cNvPr id="5126" name="TextBox 5125">
            <a:extLst>
              <a:ext uri="{FF2B5EF4-FFF2-40B4-BE49-F238E27FC236}">
                <a16:creationId xmlns:a16="http://schemas.microsoft.com/office/drawing/2014/main" id="{BC6E6439-1EE1-E4B9-DB88-BCA78F54E1FC}"/>
              </a:ext>
            </a:extLst>
          </p:cNvPr>
          <p:cNvSpPr txBox="1"/>
          <p:nvPr/>
        </p:nvSpPr>
        <p:spPr>
          <a:xfrm>
            <a:off x="8221694" y="6045415"/>
            <a:ext cx="1243782" cy="276999"/>
          </a:xfrm>
          <a:prstGeom prst="rect">
            <a:avLst/>
          </a:prstGeom>
          <a:noFill/>
        </p:spPr>
        <p:txBody>
          <a:bodyPr wrap="square" rtlCol="0">
            <a:spAutoFit/>
          </a:bodyPr>
          <a:lstStyle/>
          <a:p>
            <a:pPr algn="ctr"/>
            <a:r>
              <a:rPr lang="en-US" altLang="zh-CN" sz="1200" b="1">
                <a:solidFill>
                  <a:schemeClr val="tx2"/>
                </a:solidFill>
              </a:rPr>
              <a:t>Feature Vector</a:t>
            </a:r>
            <a:endParaRPr lang="en-US" altLang="zh-CN" sz="1200" b="1" dirty="0">
              <a:solidFill>
                <a:schemeClr val="tx2"/>
              </a:solidFill>
            </a:endParaRPr>
          </a:p>
        </p:txBody>
      </p:sp>
      <p:sp>
        <p:nvSpPr>
          <p:cNvPr id="5129" name="Arrow: Bent-Up 5128">
            <a:extLst>
              <a:ext uri="{FF2B5EF4-FFF2-40B4-BE49-F238E27FC236}">
                <a16:creationId xmlns:a16="http://schemas.microsoft.com/office/drawing/2014/main" id="{D3F3FDE1-EEE9-B262-2100-C2F415D514C6}"/>
              </a:ext>
            </a:extLst>
          </p:cNvPr>
          <p:cNvSpPr/>
          <p:nvPr/>
        </p:nvSpPr>
        <p:spPr>
          <a:xfrm flipV="1">
            <a:off x="10305255" y="3749284"/>
            <a:ext cx="638404" cy="1144933"/>
          </a:xfrm>
          <a:prstGeom prst="bentUpArrow">
            <a:avLst/>
          </a:prstGeom>
          <a:solidFill>
            <a:srgbClr val="BFE3F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1246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1741419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1" name="Freeform 30">
            <a:extLst>
              <a:ext uri="{FF2B5EF4-FFF2-40B4-BE49-F238E27FC236}">
                <a16:creationId xmlns:a16="http://schemas.microsoft.com/office/drawing/2014/main" id="{C0CCCC13-8660-7BAC-F34B-2A11C3C849C1}"/>
              </a:ext>
            </a:extLst>
          </p:cNvPr>
          <p:cNvSpPr/>
          <p:nvPr/>
        </p:nvSpPr>
        <p:spPr>
          <a:xfrm>
            <a:off x="422091" y="1300485"/>
            <a:ext cx="6164059" cy="260201"/>
          </a:xfrm>
          <a:custGeom>
            <a:avLst/>
            <a:gdLst>
              <a:gd name="connsiteX0" fmla="*/ 0 w 3308291"/>
              <a:gd name="connsiteY0" fmla="*/ 0 h 242967"/>
              <a:gd name="connsiteX1" fmla="*/ 3186808 w 3308291"/>
              <a:gd name="connsiteY1" fmla="*/ 0 h 242967"/>
              <a:gd name="connsiteX2" fmla="*/ 3308291 w 3308291"/>
              <a:gd name="connsiteY2" fmla="*/ 121484 h 242967"/>
              <a:gd name="connsiteX3" fmla="*/ 3186808 w 3308291"/>
              <a:gd name="connsiteY3" fmla="*/ 242967 h 242967"/>
              <a:gd name="connsiteX4" fmla="*/ 0 w 3308291"/>
              <a:gd name="connsiteY4" fmla="*/ 242967 h 242967"/>
              <a:gd name="connsiteX5" fmla="*/ 0 w 3308291"/>
              <a:gd name="connsiteY5" fmla="*/ 0 h 24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8291" h="242967">
                <a:moveTo>
                  <a:pt x="0" y="0"/>
                </a:moveTo>
                <a:lnTo>
                  <a:pt x="3186808" y="0"/>
                </a:lnTo>
                <a:lnTo>
                  <a:pt x="3308291" y="121484"/>
                </a:lnTo>
                <a:lnTo>
                  <a:pt x="3186808" y="242967"/>
                </a:lnTo>
                <a:lnTo>
                  <a:pt x="0" y="24296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342" tIns="34671" rIns="78078" bIns="34671" numCol="1" spcCol="1270" anchor="ctr" anchorCtr="0">
            <a:noAutofit/>
          </a:bodyPr>
          <a:lstStyle/>
          <a:p>
            <a:pPr marL="0" lvl="0" indent="0" algn="ctr" defTabSz="577850">
              <a:lnSpc>
                <a:spcPct val="90000"/>
              </a:lnSpc>
              <a:spcBef>
                <a:spcPct val="0"/>
              </a:spcBef>
              <a:spcAft>
                <a:spcPct val="35000"/>
              </a:spcAft>
              <a:buNone/>
            </a:pPr>
            <a:r>
              <a:rPr lang="en-US" altLang="zh-CN" sz="1300" kern="1200" dirty="0"/>
              <a:t>Model</a:t>
            </a:r>
          </a:p>
        </p:txBody>
      </p:sp>
      <p:sp>
        <p:nvSpPr>
          <p:cNvPr id="32" name="Freeform 31">
            <a:extLst>
              <a:ext uri="{FF2B5EF4-FFF2-40B4-BE49-F238E27FC236}">
                <a16:creationId xmlns:a16="http://schemas.microsoft.com/office/drawing/2014/main" id="{C803919E-B0AD-DBFB-3FB6-BA3ADAC4891D}"/>
              </a:ext>
            </a:extLst>
          </p:cNvPr>
          <p:cNvSpPr/>
          <p:nvPr/>
        </p:nvSpPr>
        <p:spPr>
          <a:xfrm>
            <a:off x="6104080" y="1300870"/>
            <a:ext cx="6087920" cy="259815"/>
          </a:xfrm>
          <a:custGeom>
            <a:avLst/>
            <a:gdLst>
              <a:gd name="connsiteX0" fmla="*/ 0 w 5382406"/>
              <a:gd name="connsiteY0" fmla="*/ 0 h 242196"/>
              <a:gd name="connsiteX1" fmla="*/ 5261308 w 5382406"/>
              <a:gd name="connsiteY1" fmla="*/ 0 h 242196"/>
              <a:gd name="connsiteX2" fmla="*/ 5382406 w 5382406"/>
              <a:gd name="connsiteY2" fmla="*/ 121098 h 242196"/>
              <a:gd name="connsiteX3" fmla="*/ 5261308 w 5382406"/>
              <a:gd name="connsiteY3" fmla="*/ 242196 h 242196"/>
              <a:gd name="connsiteX4" fmla="*/ 0 w 5382406"/>
              <a:gd name="connsiteY4" fmla="*/ 242196 h 242196"/>
              <a:gd name="connsiteX5" fmla="*/ 121098 w 5382406"/>
              <a:gd name="connsiteY5" fmla="*/ 121098 h 242196"/>
              <a:gd name="connsiteX6" fmla="*/ 0 w 5382406"/>
              <a:gd name="connsiteY6" fmla="*/ 0 h 24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2406" h="242196">
                <a:moveTo>
                  <a:pt x="0" y="0"/>
                </a:moveTo>
                <a:lnTo>
                  <a:pt x="5261308" y="0"/>
                </a:lnTo>
                <a:lnTo>
                  <a:pt x="5382406" y="121098"/>
                </a:lnTo>
                <a:lnTo>
                  <a:pt x="5261308" y="242196"/>
                </a:lnTo>
                <a:lnTo>
                  <a:pt x="0" y="242196"/>
                </a:lnTo>
                <a:lnTo>
                  <a:pt x="121098" y="12109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3105" tIns="34671" rIns="138434" bIns="34671" numCol="1" spcCol="1270" anchor="ctr" anchorCtr="0">
            <a:noAutofit/>
          </a:bodyPr>
          <a:lstStyle/>
          <a:p>
            <a:pPr marL="0" lvl="0" indent="0" algn="ctr" defTabSz="577850">
              <a:lnSpc>
                <a:spcPct val="90000"/>
              </a:lnSpc>
              <a:spcBef>
                <a:spcPct val="0"/>
              </a:spcBef>
              <a:spcAft>
                <a:spcPct val="35000"/>
              </a:spcAft>
              <a:buNone/>
            </a:pPr>
            <a:r>
              <a:rPr lang="en-US" altLang="zh-CN" sz="1300" dirty="0"/>
              <a:t>Hyper-parameter</a:t>
            </a:r>
            <a:endParaRPr lang="en-US" altLang="zh-CN" sz="1300" kern="1200" dirty="0"/>
          </a:p>
        </p:txBody>
      </p:sp>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a:xfrm>
            <a:off x="430696" y="248478"/>
            <a:ext cx="10843762" cy="810592"/>
          </a:xfrm>
        </p:spPr>
        <p:txBody>
          <a:bodyPr vert="horz">
            <a:noAutofit/>
          </a:bodyPr>
          <a:lstStyle/>
          <a:p>
            <a:r>
              <a:rPr lang="en-US" sz="2400" dirty="0"/>
              <a:t>Random forest becomes our primary choice of AI model given its strong capability dealing with multiple features and efficiency of computation</a:t>
            </a:r>
          </a:p>
        </p:txBody>
      </p:sp>
      <p:pic>
        <p:nvPicPr>
          <p:cNvPr id="6148" name="Picture 4" descr="Illustration of random forest trees. | Download Scientific Diagram">
            <a:extLst>
              <a:ext uri="{FF2B5EF4-FFF2-40B4-BE49-F238E27FC236}">
                <a16:creationId xmlns:a16="http://schemas.microsoft.com/office/drawing/2014/main" id="{2C3EFCA0-B059-6179-3F4C-2362C3AFA2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609" y="1684433"/>
            <a:ext cx="5421881" cy="344289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yperparameter tuning. Grid search and random search | Your Data Teacher">
            <a:extLst>
              <a:ext uri="{FF2B5EF4-FFF2-40B4-BE49-F238E27FC236}">
                <a16:creationId xmlns:a16="http://schemas.microsoft.com/office/drawing/2014/main" id="{B28010BA-AC62-09C7-DF57-8191F09772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9867" y="1802485"/>
            <a:ext cx="4440924" cy="355273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31656E0-C7CD-FF1B-A41B-5B90AB47897A}"/>
              </a:ext>
            </a:extLst>
          </p:cNvPr>
          <p:cNvSpPr txBox="1"/>
          <p:nvPr/>
        </p:nvSpPr>
        <p:spPr>
          <a:xfrm>
            <a:off x="6115919" y="5386001"/>
            <a:ext cx="5668820" cy="954107"/>
          </a:xfrm>
          <a:prstGeom prst="rect">
            <a:avLst/>
          </a:prstGeom>
          <a:noFill/>
        </p:spPr>
        <p:txBody>
          <a:bodyPr wrap="square">
            <a:spAutoFit/>
          </a:bodyPr>
          <a:lstStyle/>
          <a:p>
            <a:pPr marL="171450" indent="-171450">
              <a:buFont typeface="Arial" panose="020B0604020202020204" pitchFamily="34" charset="0"/>
              <a:buChar char="•"/>
            </a:pPr>
            <a:r>
              <a:rPr lang="en-US" altLang="zh-CN" sz="1400" dirty="0"/>
              <a:t>Example hyperparameters of the model: number of trees in the forest, max number of levels in each decision tree, etc.</a:t>
            </a:r>
          </a:p>
          <a:p>
            <a:pPr marL="171450" indent="-171450">
              <a:buFont typeface="Arial" panose="020B0604020202020204" pitchFamily="34" charset="0"/>
              <a:buChar char="•"/>
            </a:pPr>
            <a:r>
              <a:rPr lang="en-US" altLang="zh-CN" sz="1400" dirty="0"/>
              <a:t>Before the actual training, we need to conduct </a:t>
            </a:r>
            <a:r>
              <a:rPr lang="en-US" altLang="zh-CN" sz="1400" b="1" dirty="0"/>
              <a:t>grid search</a:t>
            </a:r>
            <a:r>
              <a:rPr lang="en-US" altLang="zh-CN" sz="1400" dirty="0"/>
              <a:t> to determine all the hyper-parameters</a:t>
            </a:r>
          </a:p>
        </p:txBody>
      </p:sp>
      <p:sp>
        <p:nvSpPr>
          <p:cNvPr id="27" name="TextBox 26">
            <a:extLst>
              <a:ext uri="{FF2B5EF4-FFF2-40B4-BE49-F238E27FC236}">
                <a16:creationId xmlns:a16="http://schemas.microsoft.com/office/drawing/2014/main" id="{EBEA4F80-F09B-5865-193B-BD0D2109E6BE}"/>
              </a:ext>
            </a:extLst>
          </p:cNvPr>
          <p:cNvSpPr txBox="1"/>
          <p:nvPr/>
        </p:nvSpPr>
        <p:spPr>
          <a:xfrm>
            <a:off x="419100" y="5386001"/>
            <a:ext cx="5676900" cy="954107"/>
          </a:xfrm>
          <a:prstGeom prst="rect">
            <a:avLst/>
          </a:prstGeom>
          <a:noFill/>
        </p:spPr>
        <p:txBody>
          <a:bodyPr wrap="square">
            <a:spAutoFit/>
          </a:bodyPr>
          <a:lstStyle/>
          <a:p>
            <a:pPr marL="171450" indent="-171450">
              <a:buFont typeface="Arial" panose="020B0604020202020204" pitchFamily="34" charset="0"/>
              <a:buChar char="•"/>
            </a:pPr>
            <a:r>
              <a:rPr lang="en-US" altLang="zh-CN" sz="1400" dirty="0"/>
              <a:t>Random forest is a set of different decision-trees</a:t>
            </a:r>
          </a:p>
          <a:p>
            <a:pPr marL="171450" indent="-171450">
              <a:buFont typeface="Arial" panose="020B0604020202020204" pitchFamily="34" charset="0"/>
              <a:buChar char="•"/>
            </a:pPr>
            <a:r>
              <a:rPr lang="en-US" altLang="zh-CN" sz="1400" dirty="0"/>
              <a:t>Each decision tree contains different features and input data</a:t>
            </a:r>
          </a:p>
          <a:p>
            <a:pPr marL="171450" indent="-171450">
              <a:buFont typeface="Arial" panose="020B0604020202020204" pitchFamily="34" charset="0"/>
              <a:buChar char="•"/>
            </a:pPr>
            <a:r>
              <a:rPr lang="en-US" altLang="zh-CN" sz="1400" dirty="0"/>
              <a:t>We use random forest as the primary structure of our AI model</a:t>
            </a:r>
          </a:p>
          <a:p>
            <a:pPr marL="171450" indent="-171450">
              <a:buFont typeface="Arial" panose="020B0604020202020204" pitchFamily="34" charset="0"/>
              <a:buChar char="•"/>
            </a:pPr>
            <a:r>
              <a:rPr lang="en-US" altLang="zh-CN" sz="1400" dirty="0"/>
              <a:t>It’s easy and fast, given limited computational resources</a:t>
            </a:r>
            <a:endParaRPr lang="zh-CN" altLang="en-US" sz="1400" dirty="0"/>
          </a:p>
        </p:txBody>
      </p:sp>
      <p:sp>
        <p:nvSpPr>
          <p:cNvPr id="5" name="Text Placeholder 4">
            <a:extLst>
              <a:ext uri="{FF2B5EF4-FFF2-40B4-BE49-F238E27FC236}">
                <a16:creationId xmlns:a16="http://schemas.microsoft.com/office/drawing/2014/main" id="{B304F09A-859E-8DCE-BB2E-D6D4EB39DD1C}"/>
              </a:ext>
            </a:extLst>
          </p:cNvPr>
          <p:cNvSpPr>
            <a:spLocks noGrp="1"/>
          </p:cNvSpPr>
          <p:nvPr>
            <p:ph type="body" sz="quarter" idx="10"/>
          </p:nvPr>
        </p:nvSpPr>
        <p:spPr/>
        <p:txBody>
          <a:bodyPr/>
          <a:lstStyle/>
          <a:p>
            <a:endParaRPr lang="zh-CN" altLang="en-US"/>
          </a:p>
        </p:txBody>
      </p:sp>
      <p:pic>
        <p:nvPicPr>
          <p:cNvPr id="1026" name="Picture 2" descr="random forest vs Decision tree">
            <a:extLst>
              <a:ext uri="{FF2B5EF4-FFF2-40B4-BE49-F238E27FC236}">
                <a16:creationId xmlns:a16="http://schemas.microsoft.com/office/drawing/2014/main" id="{19E844DF-D149-EC5F-BD42-9E7333A85E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6486" y="1676400"/>
            <a:ext cx="57150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54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F492E-9842-C18F-58FA-A416AC8482E4}"/>
              </a:ext>
            </a:extLst>
          </p:cNvPr>
          <p:cNvGraphicFramePr>
            <a:graphicFrameLocks noChangeAspect="1"/>
          </p:cNvGraphicFramePr>
          <p:nvPr>
            <p:custDataLst>
              <p:tags r:id="rId1"/>
            </p:custDataLst>
            <p:extLst>
              <p:ext uri="{D42A27DB-BD31-4B8C-83A1-F6EECF244321}">
                <p14:modId xmlns:p14="http://schemas.microsoft.com/office/powerpoint/2010/main" val="3153381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B0DF492E-9842-C18F-58FA-A416AC8482E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ADF92F-4066-F747-AAEF-597A8340E927}"/>
              </a:ext>
            </a:extLst>
          </p:cNvPr>
          <p:cNvSpPr>
            <a:spLocks noGrp="1"/>
          </p:cNvSpPr>
          <p:nvPr>
            <p:ph type="title"/>
          </p:nvPr>
        </p:nvSpPr>
        <p:spPr>
          <a:xfrm>
            <a:off x="430696" y="248478"/>
            <a:ext cx="10843762" cy="810592"/>
          </a:xfrm>
        </p:spPr>
        <p:txBody>
          <a:bodyPr vert="horz">
            <a:noAutofit/>
          </a:bodyPr>
          <a:lstStyle/>
          <a:p>
            <a:r>
              <a:rPr lang="en-US" sz="2400" dirty="0"/>
              <a:t>Training and testing results show ideal performance of the model but it still needs further adjustment to capture the extreme occasions</a:t>
            </a:r>
          </a:p>
        </p:txBody>
      </p:sp>
      <p:pic>
        <p:nvPicPr>
          <p:cNvPr id="11" name="Picture 10" descr="A graph showing the growth of the stock market&#10;&#10;Description automatically generated">
            <a:extLst>
              <a:ext uri="{FF2B5EF4-FFF2-40B4-BE49-F238E27FC236}">
                <a16:creationId xmlns:a16="http://schemas.microsoft.com/office/drawing/2014/main" id="{897E8514-5510-8F4A-ECA8-5CB1F2CD26E4}"/>
              </a:ext>
            </a:extLst>
          </p:cNvPr>
          <p:cNvPicPr>
            <a:picLocks noChangeAspect="1"/>
          </p:cNvPicPr>
          <p:nvPr/>
        </p:nvPicPr>
        <p:blipFill rotWithShape="1">
          <a:blip r:embed="rId6"/>
          <a:srcRect t="17765" b="7707"/>
          <a:stretch/>
        </p:blipFill>
        <p:spPr>
          <a:xfrm>
            <a:off x="1950575" y="1309820"/>
            <a:ext cx="8794539" cy="2547056"/>
          </a:xfrm>
          <a:prstGeom prst="rect">
            <a:avLst/>
          </a:prstGeom>
        </p:spPr>
      </p:pic>
      <p:pic>
        <p:nvPicPr>
          <p:cNvPr id="16" name="Picture 15" descr="A graph showing the value of a stock market&#10;&#10;Description automatically generated with medium confidence">
            <a:extLst>
              <a:ext uri="{FF2B5EF4-FFF2-40B4-BE49-F238E27FC236}">
                <a16:creationId xmlns:a16="http://schemas.microsoft.com/office/drawing/2014/main" id="{47B28782-67ED-E90D-40AA-98080C6D76FB}"/>
              </a:ext>
            </a:extLst>
          </p:cNvPr>
          <p:cNvPicPr>
            <a:picLocks noChangeAspect="1"/>
          </p:cNvPicPr>
          <p:nvPr/>
        </p:nvPicPr>
        <p:blipFill rotWithShape="1">
          <a:blip r:embed="rId7"/>
          <a:srcRect t="17765" b="8516"/>
          <a:stretch/>
        </p:blipFill>
        <p:spPr>
          <a:xfrm>
            <a:off x="1950577" y="3995665"/>
            <a:ext cx="8794538" cy="2519435"/>
          </a:xfrm>
          <a:prstGeom prst="rect">
            <a:avLst/>
          </a:prstGeom>
          <a:ln>
            <a:noFill/>
          </a:ln>
        </p:spPr>
      </p:pic>
      <p:sp>
        <p:nvSpPr>
          <p:cNvPr id="52" name="TextBox 51">
            <a:extLst>
              <a:ext uri="{FF2B5EF4-FFF2-40B4-BE49-F238E27FC236}">
                <a16:creationId xmlns:a16="http://schemas.microsoft.com/office/drawing/2014/main" id="{A5263D7A-AD57-E82C-722F-4941BB097A53}"/>
              </a:ext>
            </a:extLst>
          </p:cNvPr>
          <p:cNvSpPr txBox="1"/>
          <p:nvPr/>
        </p:nvSpPr>
        <p:spPr>
          <a:xfrm>
            <a:off x="753115" y="2214016"/>
            <a:ext cx="1124465" cy="369332"/>
          </a:xfrm>
          <a:prstGeom prst="rect">
            <a:avLst/>
          </a:prstGeom>
          <a:noFill/>
          <a:ln>
            <a:noFill/>
          </a:ln>
        </p:spPr>
        <p:txBody>
          <a:bodyPr wrap="square" rtlCol="0">
            <a:spAutoFit/>
          </a:bodyPr>
          <a:lstStyle/>
          <a:p>
            <a:r>
              <a:rPr kumimoji="1" lang="en-US" altLang="zh-CN" dirty="0"/>
              <a:t>Training</a:t>
            </a:r>
            <a:endParaRPr kumimoji="1" lang="zh-CN" altLang="en-US" dirty="0"/>
          </a:p>
        </p:txBody>
      </p:sp>
      <p:sp>
        <p:nvSpPr>
          <p:cNvPr id="53" name="TextBox 52">
            <a:extLst>
              <a:ext uri="{FF2B5EF4-FFF2-40B4-BE49-F238E27FC236}">
                <a16:creationId xmlns:a16="http://schemas.microsoft.com/office/drawing/2014/main" id="{B678F872-502A-E12A-5CF0-6EE512A40F1F}"/>
              </a:ext>
            </a:extLst>
          </p:cNvPr>
          <p:cNvSpPr txBox="1"/>
          <p:nvPr/>
        </p:nvSpPr>
        <p:spPr>
          <a:xfrm>
            <a:off x="753115" y="4947835"/>
            <a:ext cx="1124465" cy="369332"/>
          </a:xfrm>
          <a:prstGeom prst="rect">
            <a:avLst/>
          </a:prstGeom>
          <a:noFill/>
          <a:ln>
            <a:noFill/>
          </a:ln>
        </p:spPr>
        <p:txBody>
          <a:bodyPr wrap="square" rtlCol="0">
            <a:spAutoFit/>
          </a:bodyPr>
          <a:lstStyle/>
          <a:p>
            <a:r>
              <a:rPr kumimoji="1" lang="en-US" altLang="zh-CN" dirty="0"/>
              <a:t>Testing</a:t>
            </a:r>
            <a:endParaRPr kumimoji="1" lang="zh-CN" altLang="en-US" dirty="0"/>
          </a:p>
        </p:txBody>
      </p:sp>
    </p:spTree>
    <p:extLst>
      <p:ext uri="{BB962C8B-B14F-4D97-AF65-F5344CB8AC3E}">
        <p14:creationId xmlns:p14="http://schemas.microsoft.com/office/powerpoint/2010/main" val="2417961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112179-68C2-DCF3-BF3D-B38605D02DE1}"/>
              </a:ext>
            </a:extLst>
          </p:cNvPr>
          <p:cNvGraphicFramePr>
            <a:graphicFrameLocks noChangeAspect="1"/>
          </p:cNvGraphicFramePr>
          <p:nvPr>
            <p:custDataLst>
              <p:tags r:id="rId1"/>
            </p:custDataLst>
            <p:extLst>
              <p:ext uri="{D42A27DB-BD31-4B8C-83A1-F6EECF244321}">
                <p14:modId xmlns:p14="http://schemas.microsoft.com/office/powerpoint/2010/main" val="23576297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C6112179-68C2-DCF3-BF3D-B38605D02DE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C47B4-A196-DC50-2C83-9E3B6718CD8B}"/>
              </a:ext>
            </a:extLst>
          </p:cNvPr>
          <p:cNvSpPr>
            <a:spLocks noGrp="1"/>
          </p:cNvSpPr>
          <p:nvPr>
            <p:ph type="title"/>
          </p:nvPr>
        </p:nvSpPr>
        <p:spPr/>
        <p:txBody>
          <a:bodyPr vert="horz">
            <a:normAutofit/>
          </a:bodyPr>
          <a:lstStyle/>
          <a:p>
            <a:r>
              <a:rPr kumimoji="1" lang="en-US" altLang="zh-CN" sz="2400" dirty="0"/>
              <a:t>With the trained model, we can integrate the real-time data fetching process together to realize accurate and timely nowcasting</a:t>
            </a:r>
            <a:endParaRPr kumimoji="1" lang="zh-CN" altLang="en-US" sz="2400" dirty="0"/>
          </a:p>
        </p:txBody>
      </p:sp>
      <p:grpSp>
        <p:nvGrpSpPr>
          <p:cNvPr id="84" name="Group 83">
            <a:extLst>
              <a:ext uri="{FF2B5EF4-FFF2-40B4-BE49-F238E27FC236}">
                <a16:creationId xmlns:a16="http://schemas.microsoft.com/office/drawing/2014/main" id="{864C068A-A4D9-D132-41E0-9A6830589327}"/>
              </a:ext>
            </a:extLst>
          </p:cNvPr>
          <p:cNvGrpSpPr/>
          <p:nvPr/>
        </p:nvGrpSpPr>
        <p:grpSpPr>
          <a:xfrm>
            <a:off x="1379590" y="4576254"/>
            <a:ext cx="6078637" cy="1758280"/>
            <a:chOff x="702931" y="2237874"/>
            <a:chExt cx="10483693" cy="3257271"/>
          </a:xfrm>
        </p:grpSpPr>
        <p:grpSp>
          <p:nvGrpSpPr>
            <p:cNvPr id="81" name="Group 80">
              <a:extLst>
                <a:ext uri="{FF2B5EF4-FFF2-40B4-BE49-F238E27FC236}">
                  <a16:creationId xmlns:a16="http://schemas.microsoft.com/office/drawing/2014/main" id="{BBE67395-8450-4400-3C5C-5B2BEB96BFA3}"/>
                </a:ext>
              </a:extLst>
            </p:cNvPr>
            <p:cNvGrpSpPr/>
            <p:nvPr/>
          </p:nvGrpSpPr>
          <p:grpSpPr>
            <a:xfrm>
              <a:off x="702931" y="2346593"/>
              <a:ext cx="10483693" cy="3148552"/>
              <a:chOff x="185573" y="1540477"/>
              <a:chExt cx="10483693" cy="3148552"/>
            </a:xfrm>
          </p:grpSpPr>
          <p:grpSp>
            <p:nvGrpSpPr>
              <p:cNvPr id="79" name="Group 78">
                <a:extLst>
                  <a:ext uri="{FF2B5EF4-FFF2-40B4-BE49-F238E27FC236}">
                    <a16:creationId xmlns:a16="http://schemas.microsoft.com/office/drawing/2014/main" id="{B9D7BEF0-6B68-6E52-7A80-45E18B030315}"/>
                  </a:ext>
                </a:extLst>
              </p:cNvPr>
              <p:cNvGrpSpPr/>
              <p:nvPr/>
            </p:nvGrpSpPr>
            <p:grpSpPr>
              <a:xfrm>
                <a:off x="8335075" y="1832531"/>
                <a:ext cx="2334191" cy="2574498"/>
                <a:chOff x="8335075" y="1832531"/>
                <a:chExt cx="2334191" cy="2574498"/>
              </a:xfrm>
            </p:grpSpPr>
            <p:sp>
              <p:nvSpPr>
                <p:cNvPr id="21" name="Rectangle: Rounded Corners 20">
                  <a:extLst>
                    <a:ext uri="{FF2B5EF4-FFF2-40B4-BE49-F238E27FC236}">
                      <a16:creationId xmlns:a16="http://schemas.microsoft.com/office/drawing/2014/main" id="{B61A0AC6-5A15-B627-62A8-F73FFB203945}"/>
                    </a:ext>
                  </a:extLst>
                </p:cNvPr>
                <p:cNvSpPr/>
                <p:nvPr/>
              </p:nvSpPr>
              <p:spPr>
                <a:xfrm>
                  <a:off x="8335075" y="3479710"/>
                  <a:ext cx="2334191" cy="9273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bg2">
                          <a:lumMod val="25000"/>
                        </a:schemeClr>
                      </a:solidFill>
                    </a:rPr>
                    <a:t>Generate warnings in advance</a:t>
                  </a:r>
                  <a:endParaRPr lang="zh-CN" altLang="en-US" sz="1000" dirty="0">
                    <a:solidFill>
                      <a:schemeClr val="bg2">
                        <a:lumMod val="25000"/>
                      </a:schemeClr>
                    </a:solidFill>
                  </a:endParaRPr>
                </a:p>
              </p:txBody>
            </p:sp>
            <p:grpSp>
              <p:nvGrpSpPr>
                <p:cNvPr id="76" name="Group 75">
                  <a:extLst>
                    <a:ext uri="{FF2B5EF4-FFF2-40B4-BE49-F238E27FC236}">
                      <a16:creationId xmlns:a16="http://schemas.microsoft.com/office/drawing/2014/main" id="{E1A3CEB9-DF2B-8B02-D47D-C231A505CF87}"/>
                    </a:ext>
                  </a:extLst>
                </p:cNvPr>
                <p:cNvGrpSpPr/>
                <p:nvPr/>
              </p:nvGrpSpPr>
              <p:grpSpPr>
                <a:xfrm>
                  <a:off x="8666901" y="1832531"/>
                  <a:ext cx="1932406" cy="1851718"/>
                  <a:chOff x="8570647" y="2037070"/>
                  <a:chExt cx="1932406" cy="1851718"/>
                </a:xfrm>
              </p:grpSpPr>
              <p:pic>
                <p:nvPicPr>
                  <p:cNvPr id="71" name="Graphic 70">
                    <a:extLst>
                      <a:ext uri="{FF2B5EF4-FFF2-40B4-BE49-F238E27FC236}">
                        <a16:creationId xmlns:a16="http://schemas.microsoft.com/office/drawing/2014/main" id="{A135F11E-4349-0F9D-B386-72016EB68B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5363" y="2037070"/>
                    <a:ext cx="897690" cy="897690"/>
                  </a:xfrm>
                  <a:prstGeom prst="rect">
                    <a:avLst/>
                  </a:prstGeom>
                </p:spPr>
              </p:pic>
              <p:pic>
                <p:nvPicPr>
                  <p:cNvPr id="73" name="Graphic 72">
                    <a:extLst>
                      <a:ext uri="{FF2B5EF4-FFF2-40B4-BE49-F238E27FC236}">
                        <a16:creationId xmlns:a16="http://schemas.microsoft.com/office/drawing/2014/main" id="{EA0C2B02-9DB8-9E46-4E59-7DD2FB992A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69847" y="2974388"/>
                    <a:ext cx="914400" cy="914400"/>
                  </a:xfrm>
                  <a:prstGeom prst="rect">
                    <a:avLst/>
                  </a:prstGeom>
                </p:spPr>
              </p:pic>
              <p:pic>
                <p:nvPicPr>
                  <p:cNvPr id="75" name="Graphic 74">
                    <a:extLst>
                      <a:ext uri="{FF2B5EF4-FFF2-40B4-BE49-F238E27FC236}">
                        <a16:creationId xmlns:a16="http://schemas.microsoft.com/office/drawing/2014/main" id="{76D723A6-EA88-0595-C3DD-0534C5FFF0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70647" y="2477562"/>
                    <a:ext cx="1034716" cy="1034716"/>
                  </a:xfrm>
                  <a:prstGeom prst="rect">
                    <a:avLst/>
                  </a:prstGeom>
                </p:spPr>
              </p:pic>
            </p:grpSp>
          </p:grpSp>
          <p:grpSp>
            <p:nvGrpSpPr>
              <p:cNvPr id="80" name="Group 79">
                <a:extLst>
                  <a:ext uri="{FF2B5EF4-FFF2-40B4-BE49-F238E27FC236}">
                    <a16:creationId xmlns:a16="http://schemas.microsoft.com/office/drawing/2014/main" id="{3CE3426E-D505-014F-AEC5-F1BBE85EF1D2}"/>
                  </a:ext>
                </a:extLst>
              </p:cNvPr>
              <p:cNvGrpSpPr/>
              <p:nvPr/>
            </p:nvGrpSpPr>
            <p:grpSpPr>
              <a:xfrm>
                <a:off x="185573" y="1540477"/>
                <a:ext cx="8385074" cy="3148552"/>
                <a:chOff x="185573" y="1540477"/>
                <a:chExt cx="8385074" cy="3148552"/>
              </a:xfrm>
            </p:grpSpPr>
            <p:pic>
              <p:nvPicPr>
                <p:cNvPr id="17" name="Picture 4">
                  <a:extLst>
                    <a:ext uri="{FF2B5EF4-FFF2-40B4-BE49-F238E27FC236}">
                      <a16:creationId xmlns:a16="http://schemas.microsoft.com/office/drawing/2014/main" id="{2A4A28CF-8D69-25CD-C57F-7B17F306994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60300"/>
                <a:stretch/>
              </p:blipFill>
              <p:spPr bwMode="auto">
                <a:xfrm>
                  <a:off x="185573" y="1540477"/>
                  <a:ext cx="7930905" cy="3148552"/>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Arrow Connector 77">
                  <a:extLst>
                    <a:ext uri="{FF2B5EF4-FFF2-40B4-BE49-F238E27FC236}">
                      <a16:creationId xmlns:a16="http://schemas.microsoft.com/office/drawing/2014/main" id="{C4880133-B8F9-E444-29C4-9317A43DC20E}"/>
                    </a:ext>
                  </a:extLst>
                </p:cNvPr>
                <p:cNvCxnSpPr/>
                <p:nvPr/>
              </p:nvCxnSpPr>
              <p:spPr>
                <a:xfrm>
                  <a:off x="7976937" y="2790379"/>
                  <a:ext cx="593710"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83" name="Rectangle 82">
              <a:extLst>
                <a:ext uri="{FF2B5EF4-FFF2-40B4-BE49-F238E27FC236}">
                  <a16:creationId xmlns:a16="http://schemas.microsoft.com/office/drawing/2014/main" id="{4B0F169F-DB4E-5EA9-EE86-A168AAC74557}"/>
                </a:ext>
              </a:extLst>
            </p:cNvPr>
            <p:cNvSpPr/>
            <p:nvPr/>
          </p:nvSpPr>
          <p:spPr>
            <a:xfrm>
              <a:off x="7026443" y="2237874"/>
              <a:ext cx="457330" cy="6256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2" name="Rectangle 81">
              <a:extLst>
                <a:ext uri="{FF2B5EF4-FFF2-40B4-BE49-F238E27FC236}">
                  <a16:creationId xmlns:a16="http://schemas.microsoft.com/office/drawing/2014/main" id="{46F57803-DD4D-F4F6-0FD8-BA681A20898C}"/>
                </a:ext>
              </a:extLst>
            </p:cNvPr>
            <p:cNvSpPr/>
            <p:nvPr/>
          </p:nvSpPr>
          <p:spPr>
            <a:xfrm>
              <a:off x="4211053" y="2237874"/>
              <a:ext cx="457330" cy="6256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9" name="Group 8">
            <a:extLst>
              <a:ext uri="{FF2B5EF4-FFF2-40B4-BE49-F238E27FC236}">
                <a16:creationId xmlns:a16="http://schemas.microsoft.com/office/drawing/2014/main" id="{C70BA311-CD25-8C83-AE9D-D1BACC81CE34}"/>
              </a:ext>
            </a:extLst>
          </p:cNvPr>
          <p:cNvGrpSpPr/>
          <p:nvPr/>
        </p:nvGrpSpPr>
        <p:grpSpPr>
          <a:xfrm>
            <a:off x="1379590" y="1240114"/>
            <a:ext cx="7110803" cy="3394758"/>
            <a:chOff x="2306041" y="2147878"/>
            <a:chExt cx="8545118" cy="4277322"/>
          </a:xfrm>
        </p:grpSpPr>
        <p:pic>
          <p:nvPicPr>
            <p:cNvPr id="7" name="Picture 6">
              <a:extLst>
                <a:ext uri="{FF2B5EF4-FFF2-40B4-BE49-F238E27FC236}">
                  <a16:creationId xmlns:a16="http://schemas.microsoft.com/office/drawing/2014/main" id="{400B41B5-413F-0338-CA79-D6B2377A9A07}"/>
                </a:ext>
              </a:extLst>
            </p:cNvPr>
            <p:cNvPicPr>
              <a:picLocks noChangeAspect="1"/>
            </p:cNvPicPr>
            <p:nvPr/>
          </p:nvPicPr>
          <p:blipFill>
            <a:blip r:embed="rId13"/>
            <a:stretch>
              <a:fillRect/>
            </a:stretch>
          </p:blipFill>
          <p:spPr>
            <a:xfrm>
              <a:off x="2306041" y="2147878"/>
              <a:ext cx="8545118" cy="4277322"/>
            </a:xfrm>
            <a:prstGeom prst="rect">
              <a:avLst/>
            </a:prstGeom>
          </p:spPr>
        </p:pic>
        <p:pic>
          <p:nvPicPr>
            <p:cNvPr id="4" name="Picture 3">
              <a:extLst>
                <a:ext uri="{FF2B5EF4-FFF2-40B4-BE49-F238E27FC236}">
                  <a16:creationId xmlns:a16="http://schemas.microsoft.com/office/drawing/2014/main" id="{CF63026E-0FBB-FF2E-9967-121E2090EE64}"/>
                </a:ext>
              </a:extLst>
            </p:cNvPr>
            <p:cNvPicPr>
              <a:picLocks noChangeAspect="1"/>
            </p:cNvPicPr>
            <p:nvPr/>
          </p:nvPicPr>
          <p:blipFill>
            <a:blip r:embed="rId14"/>
            <a:stretch>
              <a:fillRect/>
            </a:stretch>
          </p:blipFill>
          <p:spPr>
            <a:xfrm>
              <a:off x="5074386" y="3030442"/>
              <a:ext cx="2381582" cy="1371791"/>
            </a:xfrm>
            <a:prstGeom prst="rect">
              <a:avLst/>
            </a:prstGeom>
          </p:spPr>
        </p:pic>
      </p:grpSp>
      <p:sp>
        <p:nvSpPr>
          <p:cNvPr id="10" name="TextBox 9">
            <a:extLst>
              <a:ext uri="{FF2B5EF4-FFF2-40B4-BE49-F238E27FC236}">
                <a16:creationId xmlns:a16="http://schemas.microsoft.com/office/drawing/2014/main" id="{4552ED49-678F-64DE-CFCE-CF5A68C38372}"/>
              </a:ext>
            </a:extLst>
          </p:cNvPr>
          <p:cNvSpPr txBox="1"/>
          <p:nvPr/>
        </p:nvSpPr>
        <p:spPr>
          <a:xfrm>
            <a:off x="8436999" y="2133012"/>
            <a:ext cx="2128856" cy="1107996"/>
          </a:xfrm>
          <a:prstGeom prst="rect">
            <a:avLst/>
          </a:prstGeom>
          <a:solidFill>
            <a:schemeClr val="tx1">
              <a:lumMod val="20000"/>
              <a:lumOff val="80000"/>
            </a:schemeClr>
          </a:solidFill>
        </p:spPr>
        <p:txBody>
          <a:bodyPr wrap="square" lIns="182880" tIns="182880" rIns="182880" bIns="182880" rtlCol="0">
            <a:spAutoFit/>
          </a:bodyPr>
          <a:lstStyle/>
          <a:p>
            <a:r>
              <a:rPr lang="en-US" altLang="zh-CN" sz="1200" dirty="0"/>
              <a:t>Current forecasted result has already been integrated with INAMHI’s visor system</a:t>
            </a:r>
            <a:endParaRPr lang="zh-CN" altLang="en-US" sz="1200" dirty="0"/>
          </a:p>
        </p:txBody>
      </p:sp>
      <p:sp>
        <p:nvSpPr>
          <p:cNvPr id="11" name="TextBox 10">
            <a:extLst>
              <a:ext uri="{FF2B5EF4-FFF2-40B4-BE49-F238E27FC236}">
                <a16:creationId xmlns:a16="http://schemas.microsoft.com/office/drawing/2014/main" id="{B98B8C18-4DA1-A939-79FA-617794902069}"/>
              </a:ext>
            </a:extLst>
          </p:cNvPr>
          <p:cNvSpPr txBox="1"/>
          <p:nvPr/>
        </p:nvSpPr>
        <p:spPr>
          <a:xfrm>
            <a:off x="8436999" y="4815916"/>
            <a:ext cx="2128856" cy="1292662"/>
          </a:xfrm>
          <a:prstGeom prst="rect">
            <a:avLst/>
          </a:prstGeom>
          <a:solidFill>
            <a:schemeClr val="tx1">
              <a:lumMod val="20000"/>
              <a:lumOff val="80000"/>
            </a:schemeClr>
          </a:solidFill>
        </p:spPr>
        <p:txBody>
          <a:bodyPr wrap="square" lIns="182880" tIns="182880" rIns="182880" bIns="182880" rtlCol="0">
            <a:spAutoFit/>
          </a:bodyPr>
          <a:lstStyle/>
          <a:p>
            <a:r>
              <a:rPr lang="en-US" altLang="zh-CN" sz="1200" dirty="0"/>
              <a:t>Next step to apply the forecasted result to the early warning system to generate bulletins in advance</a:t>
            </a:r>
            <a:endParaRPr lang="zh-CN" altLang="en-US" sz="1200" dirty="0"/>
          </a:p>
        </p:txBody>
      </p:sp>
    </p:spTree>
    <p:extLst>
      <p:ext uri="{BB962C8B-B14F-4D97-AF65-F5344CB8AC3E}">
        <p14:creationId xmlns:p14="http://schemas.microsoft.com/office/powerpoint/2010/main" val="628374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DP">
      <a:dk1>
        <a:srgbClr val="0468B1"/>
      </a:dk1>
      <a:lt1>
        <a:srgbClr val="FFFFFF"/>
      </a:lt1>
      <a:dk2>
        <a:srgbClr val="44546A"/>
      </a:dk2>
      <a:lt2>
        <a:srgbClr val="E7E6E6"/>
      </a:lt2>
      <a:accent1>
        <a:srgbClr val="0468B1"/>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UNDP">
      <a:dk1>
        <a:srgbClr val="0468B1"/>
      </a:dk1>
      <a:lt1>
        <a:srgbClr val="FFFFFF"/>
      </a:lt1>
      <a:dk2>
        <a:srgbClr val="44546A"/>
      </a:dk2>
      <a:lt2>
        <a:srgbClr val="E7E6E6"/>
      </a:lt2>
      <a:accent1>
        <a:srgbClr val="0468B1"/>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humbnail xmlns="d6d9d182-1b51-4d13-91b7-4a83422f327c">
      <Url xsi:nil="true"/>
      <Description xsi:nil="true"/>
    </Thumbnail>
    <_x0023_ xmlns="d6d9d182-1b51-4d13-91b7-4a83422f327c" xsi:nil="true"/>
    <_dlc_DocId xmlns="059678d3-0933-4798-85ce-4e8030ba05bc">UNITPB-486-54017</_dlc_DocId>
    <_dlc_DocIdUrl xmlns="059678d3-0933-4798-85ce-4e8030ba05bc">
      <Url>https://intranet.undp.org/unit/pb/communicate/_layouts/15/DocIdRedir.aspx?ID=UNITPB-486-54017</Url>
      <Description>UNITPB-486-54017</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B4981E8A26D6C246AE44E9FDAFE54C35" ma:contentTypeVersion="3" ma:contentTypeDescription="Create a new document." ma:contentTypeScope="" ma:versionID="c70f2e0f776aa113afab25d071d18743">
  <xsd:schema xmlns:xsd="http://www.w3.org/2001/XMLSchema" xmlns:xs="http://www.w3.org/2001/XMLSchema" xmlns:p="http://schemas.microsoft.com/office/2006/metadata/properties" xmlns:ns2="059678d3-0933-4798-85ce-4e8030ba05bc" xmlns:ns3="d6d9d182-1b51-4d13-91b7-4a83422f327c" xmlns:ns4="b07e8ff9-2c8b-42d8-97c1-a13b9ec8e154" targetNamespace="http://schemas.microsoft.com/office/2006/metadata/properties" ma:root="true" ma:fieldsID="b8d37f407552da49b29132aa0847acb1" ns2:_="" ns3:_="" ns4:_="">
    <xsd:import namespace="059678d3-0933-4798-85ce-4e8030ba05bc"/>
    <xsd:import namespace="d6d9d182-1b51-4d13-91b7-4a83422f327c"/>
    <xsd:import namespace="b07e8ff9-2c8b-42d8-97c1-a13b9ec8e154"/>
    <xsd:element name="properties">
      <xsd:complexType>
        <xsd:sequence>
          <xsd:element name="documentManagement">
            <xsd:complexType>
              <xsd:all>
                <xsd:element ref="ns2:_dlc_DocId" minOccurs="0"/>
                <xsd:element ref="ns2:_dlc_DocIdUrl" minOccurs="0"/>
                <xsd:element ref="ns2:_dlc_DocIdPersistId" minOccurs="0"/>
                <xsd:element ref="ns3:Thumbnail" minOccurs="0"/>
                <xsd:element ref="ns3:_x0023_"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678d3-0933-4798-85ce-4e8030ba05b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6d9d182-1b51-4d13-91b7-4a83422f327c" elementFormDefault="qualified">
    <xsd:import namespace="http://schemas.microsoft.com/office/2006/documentManagement/types"/>
    <xsd:import namespace="http://schemas.microsoft.com/office/infopath/2007/PartnerControls"/>
    <xsd:element name="Thumbnail" ma:index="11" nillable="true" ma:displayName="Thumbnail" ma:format="Image" ma:internalName="Thumbnail">
      <xsd:complexType>
        <xsd:complexContent>
          <xsd:extension base="dms:URL">
            <xsd:sequence>
              <xsd:element name="Url" type="dms:ValidUrl" minOccurs="0" nillable="true"/>
              <xsd:element name="Description" type="xsd:string" nillable="true"/>
            </xsd:sequence>
          </xsd:extension>
        </xsd:complexContent>
      </xsd:complexType>
    </xsd:element>
    <xsd:element name="_x0023_" ma:index="12" nillable="true" ma:displayName="#" ma:internalName="_x0023_">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b07e8ff9-2c8b-42d8-97c1-a13b9ec8e15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0F5B0C-0AEB-4807-BF2E-42B00673E805}">
  <ds:schemaRefs>
    <ds:schemaRef ds:uri="http://purl.org/dc/elements/1.1/"/>
    <ds:schemaRef ds:uri="http://purl.org/dc/terms/"/>
    <ds:schemaRef ds:uri="http://purl.org/dc/dcmitype/"/>
    <ds:schemaRef ds:uri="http://schemas.microsoft.com/office/2006/metadata/properties"/>
    <ds:schemaRef ds:uri="d6d9d182-1b51-4d13-91b7-4a83422f327c"/>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b07e8ff9-2c8b-42d8-97c1-a13b9ec8e154"/>
    <ds:schemaRef ds:uri="059678d3-0933-4798-85ce-4e8030ba05bc"/>
  </ds:schemaRefs>
</ds:datastoreItem>
</file>

<file path=customXml/itemProps2.xml><?xml version="1.0" encoding="utf-8"?>
<ds:datastoreItem xmlns:ds="http://schemas.openxmlformats.org/officeDocument/2006/customXml" ds:itemID="{CDB4461E-CFFA-4D42-83C2-6C664564C70D}">
  <ds:schemaRefs>
    <ds:schemaRef ds:uri="http://schemas.microsoft.com/sharepoint/v3/contenttype/forms"/>
  </ds:schemaRefs>
</ds:datastoreItem>
</file>

<file path=customXml/itemProps3.xml><?xml version="1.0" encoding="utf-8"?>
<ds:datastoreItem xmlns:ds="http://schemas.openxmlformats.org/officeDocument/2006/customXml" ds:itemID="{86EA0A95-C788-4F3D-BBA6-0F99C984D449}">
  <ds:schemaRefs>
    <ds:schemaRef ds:uri="http://schemas.microsoft.com/sharepoint/events"/>
  </ds:schemaRefs>
</ds:datastoreItem>
</file>

<file path=customXml/itemProps4.xml><?xml version="1.0" encoding="utf-8"?>
<ds:datastoreItem xmlns:ds="http://schemas.openxmlformats.org/officeDocument/2006/customXml" ds:itemID="{D0223B2D-62E9-44D4-B219-6800B953DA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9678d3-0933-4798-85ce-4e8030ba05bc"/>
    <ds:schemaRef ds:uri="d6d9d182-1b51-4d13-91b7-4a83422f327c"/>
    <ds:schemaRef ds:uri="b07e8ff9-2c8b-42d8-97c1-a13b9ec8e1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01</TotalTime>
  <Words>1984</Words>
  <Application>Microsoft Macintosh PowerPoint</Application>
  <PresentationFormat>Widescreen</PresentationFormat>
  <Paragraphs>149</Paragraphs>
  <Slides>12</Slides>
  <Notes>1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8" baseType="lpstr">
      <vt:lpstr>Aptos</vt:lpstr>
      <vt:lpstr>Arial</vt:lpstr>
      <vt:lpstr>Calibri</vt:lpstr>
      <vt:lpstr>Office Theme</vt:lpstr>
      <vt:lpstr>Custom Design</vt:lpstr>
      <vt:lpstr>think-cell Slide</vt:lpstr>
      <vt:lpstr>Liang Yang UNV Assignment Sharing</vt:lpstr>
      <vt:lpstr>PROJECT BACKGROUND: Under the influence of El Niño, Ecuador is suffering with both droughts and floods</vt:lpstr>
      <vt:lpstr>Esmeraldas is a costal city under multiple disaster risks, including floods, sea level rise and landslide</vt:lpstr>
      <vt:lpstr>Approach: To provide timely and accurate forecasts of extreme precipitation with limited resources, we turn to AI</vt:lpstr>
      <vt:lpstr>Given limited number of available X variables, we involve inputs from other models to enhance the model’s Capacity</vt:lpstr>
      <vt:lpstr>To further enhance the accuracy of the model, we have to consider the different arrival time of the precipitation with different distance</vt:lpstr>
      <vt:lpstr>Random forest becomes our primary choice of AI model given its strong capability dealing with multiple features and efficiency of computation</vt:lpstr>
      <vt:lpstr>Training and testing results show ideal performance of the model but it still needs further adjustment to capture the extreme occasions</vt:lpstr>
      <vt:lpstr>With the trained model, we can integrate the real-time data fetching process together to realize accurate and timely nowcasting</vt:lpstr>
      <vt:lpstr>Limitation of the current approach and future challenges</vt:lpstr>
      <vt:lpstr>Productions of work compiled into INAMHI’s Github repository for future development and maintena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gya mahendru</dc:creator>
  <cp:lastModifiedBy>Liang Yang</cp:lastModifiedBy>
  <cp:revision>15</cp:revision>
  <dcterms:created xsi:type="dcterms:W3CDTF">2020-05-07T16:23:44Z</dcterms:created>
  <dcterms:modified xsi:type="dcterms:W3CDTF">2024-07-08T00:2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03a00757-fa03-45b4-a822-7cd7f51459d6</vt:lpwstr>
  </property>
  <property fmtid="{D5CDD505-2E9C-101B-9397-08002B2CF9AE}" pid="3" name="ContentTypeId">
    <vt:lpwstr>0x010100B4981E8A26D6C246AE44E9FDAFE54C35</vt:lpwstr>
  </property>
</Properties>
</file>